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lb" ContentType="model/gltf.binary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1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0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1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tags/tag3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7"/>
  </p:notesMasterIdLst>
  <p:sldIdLst>
    <p:sldId id="281" r:id="rId2"/>
    <p:sldId id="282" r:id="rId3"/>
    <p:sldId id="292" r:id="rId4"/>
    <p:sldId id="268" r:id="rId5"/>
    <p:sldId id="269" r:id="rId6"/>
    <p:sldId id="270" r:id="rId7"/>
    <p:sldId id="287" r:id="rId8"/>
    <p:sldId id="288" r:id="rId9"/>
    <p:sldId id="305" r:id="rId10"/>
    <p:sldId id="306" r:id="rId11"/>
    <p:sldId id="258" r:id="rId12"/>
    <p:sldId id="259" r:id="rId13"/>
    <p:sldId id="260" r:id="rId14"/>
    <p:sldId id="283" r:id="rId15"/>
    <p:sldId id="266" r:id="rId16"/>
    <p:sldId id="267" r:id="rId17"/>
    <p:sldId id="291" r:id="rId18"/>
    <p:sldId id="299" r:id="rId19"/>
    <p:sldId id="294" r:id="rId20"/>
    <p:sldId id="308" r:id="rId21"/>
    <p:sldId id="295" r:id="rId22"/>
    <p:sldId id="296" r:id="rId23"/>
    <p:sldId id="297" r:id="rId24"/>
    <p:sldId id="298" r:id="rId25"/>
    <p:sldId id="293" r:id="rId26"/>
    <p:sldId id="263" r:id="rId27"/>
    <p:sldId id="264" r:id="rId28"/>
    <p:sldId id="302" r:id="rId29"/>
    <p:sldId id="310" r:id="rId30"/>
    <p:sldId id="304" r:id="rId31"/>
    <p:sldId id="300" r:id="rId32"/>
    <p:sldId id="256" r:id="rId33"/>
    <p:sldId id="257" r:id="rId34"/>
    <p:sldId id="301" r:id="rId35"/>
    <p:sldId id="307" r:id="rId3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C9D9A13-7F40-4008-B31E-9E6DD84019C2}">
          <p14:sldIdLst>
            <p14:sldId id="281"/>
            <p14:sldId id="282"/>
          </p14:sldIdLst>
        </p14:section>
        <p14:section name="Our Introduction" id="{C98D0157-5886-4B30-B125-E2F2A1875867}">
          <p14:sldIdLst>
            <p14:sldId id="292"/>
            <p14:sldId id="268"/>
            <p14:sldId id="269"/>
            <p14:sldId id="270"/>
            <p14:sldId id="287"/>
            <p14:sldId id="288"/>
          </p14:sldIdLst>
        </p14:section>
        <p14:section name="Detailed Introduction" id="{21B8883F-385A-4FBE-8E91-AC9825D421B8}">
          <p14:sldIdLst>
            <p14:sldId id="305"/>
            <p14:sldId id="306"/>
            <p14:sldId id="258"/>
            <p14:sldId id="259"/>
            <p14:sldId id="260"/>
          </p14:sldIdLst>
        </p14:section>
        <p14:section name="Our Purpose" id="{738DB53E-F837-41E8-AEAA-AE5B93F5E57E}">
          <p14:sldIdLst>
            <p14:sldId id="283"/>
            <p14:sldId id="266"/>
            <p14:sldId id="267"/>
            <p14:sldId id="291"/>
          </p14:sldIdLst>
        </p14:section>
        <p14:section name="Our App" id="{C06C532B-6712-4672-B8E8-0E9857D41E4C}">
          <p14:sldIdLst>
            <p14:sldId id="299"/>
            <p14:sldId id="294"/>
            <p14:sldId id="308"/>
            <p14:sldId id="295"/>
            <p14:sldId id="296"/>
            <p14:sldId id="297"/>
            <p14:sldId id="298"/>
          </p14:sldIdLst>
        </p14:section>
        <p14:section name="Our Customers" id="{E41AE270-8399-4C83-9A04-EC7A0E1B9B46}">
          <p14:sldIdLst>
            <p14:sldId id="293"/>
            <p14:sldId id="263"/>
            <p14:sldId id="264"/>
          </p14:sldIdLst>
        </p14:section>
        <p14:section name="Our Comepitors" id="{531C448E-6F67-4DFB-A0F7-F2A0E416B6B9}">
          <p14:sldIdLst>
            <p14:sldId id="302"/>
            <p14:sldId id="310"/>
            <p14:sldId id="304"/>
          </p14:sldIdLst>
        </p14:section>
        <p14:section name="Our Product Maps" id="{8ADF4705-B0F9-48AD-A958-BCD940FD7770}">
          <p14:sldIdLst>
            <p14:sldId id="300"/>
            <p14:sldId id="256"/>
            <p14:sldId id="257"/>
            <p14:sldId id="301"/>
          </p14:sldIdLst>
        </p14:section>
        <p14:section name="Thank you" id="{AF709E31-925D-47BA-AAA5-4958F5510B24}">
          <p14:sldIdLst>
            <p14:sldId id="30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3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F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20963F-B7C8-479B-BA2A-7B7CBD1F9027}" v="2" dt="2023-10-12T17:53:20.8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55" autoAdjust="0"/>
    <p:restoredTop sz="96247" autoAdjust="0"/>
  </p:normalViewPr>
  <p:slideViewPr>
    <p:cSldViewPr snapToGrid="0" showGuides="1">
      <p:cViewPr varScale="1">
        <p:scale>
          <a:sx n="103" d="100"/>
          <a:sy n="103" d="100"/>
        </p:scale>
        <p:origin x="2670" y="102"/>
      </p:cViewPr>
      <p:guideLst>
        <p:guide orient="horz" pos="213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microsoft.com/office/2016/11/relationships/changesInfo" Target="changesInfos/changesInfo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45" Type="http://schemas.openxmlformats.org/officeDocument/2006/relationships/customXml" Target="../customXml/item2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microsoft.com/office/2015/10/relationships/revisionInfo" Target="revisionInfo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shab Raj" userId="490594e268589d93" providerId="LiveId" clId="{0020963F-B7C8-479B-BA2A-7B7CBD1F9027}"/>
    <pc:docChg chg="modSld">
      <pc:chgData name="Rishab Raj" userId="490594e268589d93" providerId="LiveId" clId="{0020963F-B7C8-479B-BA2A-7B7CBD1F9027}" dt="2023-10-12T17:53:20.850" v="26" actId="164"/>
      <pc:docMkLst>
        <pc:docMk/>
      </pc:docMkLst>
      <pc:sldChg chg="modSp mod">
        <pc:chgData name="Rishab Raj" userId="490594e268589d93" providerId="LiveId" clId="{0020963F-B7C8-479B-BA2A-7B7CBD1F9027}" dt="2023-10-12T17:48:44.362" v="22" actId="20577"/>
        <pc:sldMkLst>
          <pc:docMk/>
          <pc:sldMk cId="2395128660" sldId="308"/>
        </pc:sldMkLst>
        <pc:spChg chg="mod">
          <ac:chgData name="Rishab Raj" userId="490594e268589d93" providerId="LiveId" clId="{0020963F-B7C8-479B-BA2A-7B7CBD1F9027}" dt="2023-10-12T17:48:44.362" v="22" actId="20577"/>
          <ac:spMkLst>
            <pc:docMk/>
            <pc:sldMk cId="2395128660" sldId="308"/>
            <ac:spMk id="20" creationId="{62BF11F0-92D9-CB3E-6173-81C07B4F4D57}"/>
          </ac:spMkLst>
        </pc:spChg>
      </pc:sldChg>
      <pc:sldChg chg="addSp delSp modSp mod">
        <pc:chgData name="Rishab Raj" userId="490594e268589d93" providerId="LiveId" clId="{0020963F-B7C8-479B-BA2A-7B7CBD1F9027}" dt="2023-10-12T17:53:20.850" v="26" actId="164"/>
        <pc:sldMkLst>
          <pc:docMk/>
          <pc:sldMk cId="0" sldId="310"/>
        </pc:sldMkLst>
        <pc:spChg chg="mod">
          <ac:chgData name="Rishab Raj" userId="490594e268589d93" providerId="LiveId" clId="{0020963F-B7C8-479B-BA2A-7B7CBD1F9027}" dt="2023-10-12T17:53:00.503" v="23" actId="165"/>
          <ac:spMkLst>
            <pc:docMk/>
            <pc:sldMk cId="0" sldId="310"/>
            <ac:spMk id="3" creationId="{00000000-0000-0000-0000-000000000000}"/>
          </ac:spMkLst>
        </pc:spChg>
        <pc:spChg chg="mod">
          <ac:chgData name="Rishab Raj" userId="490594e268589d93" providerId="LiveId" clId="{0020963F-B7C8-479B-BA2A-7B7CBD1F9027}" dt="2023-10-12T17:53:00.503" v="23" actId="165"/>
          <ac:spMkLst>
            <pc:docMk/>
            <pc:sldMk cId="0" sldId="310"/>
            <ac:spMk id="5" creationId="{00000000-0000-0000-0000-000000000000}"/>
          </ac:spMkLst>
        </pc:spChg>
        <pc:spChg chg="mod">
          <ac:chgData name="Rishab Raj" userId="490594e268589d93" providerId="LiveId" clId="{0020963F-B7C8-479B-BA2A-7B7CBD1F9027}" dt="2023-10-12T17:53:00.503" v="23" actId="165"/>
          <ac:spMkLst>
            <pc:docMk/>
            <pc:sldMk cId="0" sldId="310"/>
            <ac:spMk id="7" creationId="{00000000-0000-0000-0000-000000000000}"/>
          </ac:spMkLst>
        </pc:spChg>
        <pc:spChg chg="mod">
          <ac:chgData name="Rishab Raj" userId="490594e268589d93" providerId="LiveId" clId="{0020963F-B7C8-479B-BA2A-7B7CBD1F9027}" dt="2023-10-12T17:53:00.503" v="23" actId="165"/>
          <ac:spMkLst>
            <pc:docMk/>
            <pc:sldMk cId="0" sldId="310"/>
            <ac:spMk id="9" creationId="{00000000-0000-0000-0000-000000000000}"/>
          </ac:spMkLst>
        </pc:spChg>
        <pc:spChg chg="mod">
          <ac:chgData name="Rishab Raj" userId="490594e268589d93" providerId="LiveId" clId="{0020963F-B7C8-479B-BA2A-7B7CBD1F9027}" dt="2023-10-12T17:53:00.503" v="23" actId="165"/>
          <ac:spMkLst>
            <pc:docMk/>
            <pc:sldMk cId="0" sldId="310"/>
            <ac:spMk id="11" creationId="{00000000-0000-0000-0000-000000000000}"/>
          </ac:spMkLst>
        </pc:spChg>
        <pc:spChg chg="mod">
          <ac:chgData name="Rishab Raj" userId="490594e268589d93" providerId="LiveId" clId="{0020963F-B7C8-479B-BA2A-7B7CBD1F9027}" dt="2023-10-12T17:53:00.503" v="23" actId="165"/>
          <ac:spMkLst>
            <pc:docMk/>
            <pc:sldMk cId="0" sldId="310"/>
            <ac:spMk id="13" creationId="{00000000-0000-0000-0000-000000000000}"/>
          </ac:spMkLst>
        </pc:spChg>
        <pc:spChg chg="mod">
          <ac:chgData name="Rishab Raj" userId="490594e268589d93" providerId="LiveId" clId="{0020963F-B7C8-479B-BA2A-7B7CBD1F9027}" dt="2023-10-12T17:53:00.503" v="23" actId="165"/>
          <ac:spMkLst>
            <pc:docMk/>
            <pc:sldMk cId="0" sldId="310"/>
            <ac:spMk id="15" creationId="{00000000-0000-0000-0000-000000000000}"/>
          </ac:spMkLst>
        </pc:spChg>
        <pc:spChg chg="mod">
          <ac:chgData name="Rishab Raj" userId="490594e268589d93" providerId="LiveId" clId="{0020963F-B7C8-479B-BA2A-7B7CBD1F9027}" dt="2023-10-12T17:53:00.503" v="23" actId="165"/>
          <ac:spMkLst>
            <pc:docMk/>
            <pc:sldMk cId="0" sldId="310"/>
            <ac:spMk id="17" creationId="{00000000-0000-0000-0000-000000000000}"/>
          </ac:spMkLst>
        </pc:spChg>
        <pc:spChg chg="mod topLvl">
          <ac:chgData name="Rishab Raj" userId="490594e268589d93" providerId="LiveId" clId="{0020963F-B7C8-479B-BA2A-7B7CBD1F9027}" dt="2023-10-12T17:53:20.850" v="26" actId="164"/>
          <ac:spMkLst>
            <pc:docMk/>
            <pc:sldMk cId="0" sldId="310"/>
            <ac:spMk id="18" creationId="{00000000-0000-0000-0000-000000000000}"/>
          </ac:spMkLst>
        </pc:spChg>
        <pc:spChg chg="mod topLvl">
          <ac:chgData name="Rishab Raj" userId="490594e268589d93" providerId="LiveId" clId="{0020963F-B7C8-479B-BA2A-7B7CBD1F9027}" dt="2023-10-12T17:53:20.850" v="26" actId="164"/>
          <ac:spMkLst>
            <pc:docMk/>
            <pc:sldMk cId="0" sldId="310"/>
            <ac:spMk id="19" creationId="{00000000-0000-0000-0000-000000000000}"/>
          </ac:spMkLst>
        </pc:spChg>
        <pc:spChg chg="mod topLvl">
          <ac:chgData name="Rishab Raj" userId="490594e268589d93" providerId="LiveId" clId="{0020963F-B7C8-479B-BA2A-7B7CBD1F9027}" dt="2023-10-12T17:53:20.850" v="26" actId="164"/>
          <ac:spMkLst>
            <pc:docMk/>
            <pc:sldMk cId="0" sldId="310"/>
            <ac:spMk id="20" creationId="{00000000-0000-0000-0000-000000000000}"/>
          </ac:spMkLst>
        </pc:spChg>
        <pc:spChg chg="mod topLvl">
          <ac:chgData name="Rishab Raj" userId="490594e268589d93" providerId="LiveId" clId="{0020963F-B7C8-479B-BA2A-7B7CBD1F9027}" dt="2023-10-12T17:53:20.850" v="26" actId="164"/>
          <ac:spMkLst>
            <pc:docMk/>
            <pc:sldMk cId="0" sldId="310"/>
            <ac:spMk id="21" creationId="{00000000-0000-0000-0000-000000000000}"/>
          </ac:spMkLst>
        </pc:spChg>
        <pc:spChg chg="mod topLvl">
          <ac:chgData name="Rishab Raj" userId="490594e268589d93" providerId="LiveId" clId="{0020963F-B7C8-479B-BA2A-7B7CBD1F9027}" dt="2023-10-12T17:53:20.850" v="26" actId="164"/>
          <ac:spMkLst>
            <pc:docMk/>
            <pc:sldMk cId="0" sldId="310"/>
            <ac:spMk id="22" creationId="{00000000-0000-0000-0000-000000000000}"/>
          </ac:spMkLst>
        </pc:spChg>
        <pc:spChg chg="mod topLvl">
          <ac:chgData name="Rishab Raj" userId="490594e268589d93" providerId="LiveId" clId="{0020963F-B7C8-479B-BA2A-7B7CBD1F9027}" dt="2023-10-12T17:53:20.850" v="26" actId="164"/>
          <ac:spMkLst>
            <pc:docMk/>
            <pc:sldMk cId="0" sldId="310"/>
            <ac:spMk id="23" creationId="{00000000-0000-0000-0000-000000000000}"/>
          </ac:spMkLst>
        </pc:spChg>
        <pc:spChg chg="mod topLvl">
          <ac:chgData name="Rishab Raj" userId="490594e268589d93" providerId="LiveId" clId="{0020963F-B7C8-479B-BA2A-7B7CBD1F9027}" dt="2023-10-12T17:53:20.850" v="26" actId="164"/>
          <ac:spMkLst>
            <pc:docMk/>
            <pc:sldMk cId="0" sldId="310"/>
            <ac:spMk id="24" creationId="{00000000-0000-0000-0000-000000000000}"/>
          </ac:spMkLst>
        </pc:spChg>
        <pc:spChg chg="mod topLvl">
          <ac:chgData name="Rishab Raj" userId="490594e268589d93" providerId="LiveId" clId="{0020963F-B7C8-479B-BA2A-7B7CBD1F9027}" dt="2023-10-12T17:53:20.850" v="26" actId="164"/>
          <ac:spMkLst>
            <pc:docMk/>
            <pc:sldMk cId="0" sldId="310"/>
            <ac:spMk id="25" creationId="{00000000-0000-0000-0000-000000000000}"/>
          </ac:spMkLst>
        </pc:spChg>
        <pc:spChg chg="mod topLvl">
          <ac:chgData name="Rishab Raj" userId="490594e268589d93" providerId="LiveId" clId="{0020963F-B7C8-479B-BA2A-7B7CBD1F9027}" dt="2023-10-12T17:53:20.850" v="26" actId="164"/>
          <ac:spMkLst>
            <pc:docMk/>
            <pc:sldMk cId="0" sldId="310"/>
            <ac:spMk id="26" creationId="{00000000-0000-0000-0000-000000000000}"/>
          </ac:spMkLst>
        </pc:spChg>
        <pc:spChg chg="mod topLvl">
          <ac:chgData name="Rishab Raj" userId="490594e268589d93" providerId="LiveId" clId="{0020963F-B7C8-479B-BA2A-7B7CBD1F9027}" dt="2023-10-12T17:53:20.850" v="26" actId="164"/>
          <ac:spMkLst>
            <pc:docMk/>
            <pc:sldMk cId="0" sldId="310"/>
            <ac:spMk id="27" creationId="{00000000-0000-0000-0000-000000000000}"/>
          </ac:spMkLst>
        </pc:spChg>
        <pc:spChg chg="mod topLvl">
          <ac:chgData name="Rishab Raj" userId="490594e268589d93" providerId="LiveId" clId="{0020963F-B7C8-479B-BA2A-7B7CBD1F9027}" dt="2023-10-12T17:53:20.850" v="26" actId="164"/>
          <ac:spMkLst>
            <pc:docMk/>
            <pc:sldMk cId="0" sldId="310"/>
            <ac:spMk id="28" creationId="{00000000-0000-0000-0000-000000000000}"/>
          </ac:spMkLst>
        </pc:spChg>
        <pc:spChg chg="mod topLvl">
          <ac:chgData name="Rishab Raj" userId="490594e268589d93" providerId="LiveId" clId="{0020963F-B7C8-479B-BA2A-7B7CBD1F9027}" dt="2023-10-12T17:53:20.850" v="26" actId="164"/>
          <ac:spMkLst>
            <pc:docMk/>
            <pc:sldMk cId="0" sldId="310"/>
            <ac:spMk id="29" creationId="{00000000-0000-0000-0000-000000000000}"/>
          </ac:spMkLst>
        </pc:spChg>
        <pc:grpChg chg="mod topLvl">
          <ac:chgData name="Rishab Raj" userId="490594e268589d93" providerId="LiveId" clId="{0020963F-B7C8-479B-BA2A-7B7CBD1F9027}" dt="2023-10-12T17:53:20.850" v="26" actId="164"/>
          <ac:grpSpMkLst>
            <pc:docMk/>
            <pc:sldMk cId="0" sldId="310"/>
            <ac:grpSpMk id="2" creationId="{00000000-0000-0000-0000-000000000000}"/>
          </ac:grpSpMkLst>
        </pc:grpChg>
        <pc:grpChg chg="mod topLvl">
          <ac:chgData name="Rishab Raj" userId="490594e268589d93" providerId="LiveId" clId="{0020963F-B7C8-479B-BA2A-7B7CBD1F9027}" dt="2023-10-12T17:53:20.850" v="26" actId="164"/>
          <ac:grpSpMkLst>
            <pc:docMk/>
            <pc:sldMk cId="0" sldId="310"/>
            <ac:grpSpMk id="4" creationId="{00000000-0000-0000-0000-000000000000}"/>
          </ac:grpSpMkLst>
        </pc:grpChg>
        <pc:grpChg chg="mod topLvl">
          <ac:chgData name="Rishab Raj" userId="490594e268589d93" providerId="LiveId" clId="{0020963F-B7C8-479B-BA2A-7B7CBD1F9027}" dt="2023-10-12T17:53:20.850" v="26" actId="164"/>
          <ac:grpSpMkLst>
            <pc:docMk/>
            <pc:sldMk cId="0" sldId="310"/>
            <ac:grpSpMk id="6" creationId="{00000000-0000-0000-0000-000000000000}"/>
          </ac:grpSpMkLst>
        </pc:grpChg>
        <pc:grpChg chg="mod topLvl">
          <ac:chgData name="Rishab Raj" userId="490594e268589d93" providerId="LiveId" clId="{0020963F-B7C8-479B-BA2A-7B7CBD1F9027}" dt="2023-10-12T17:53:20.850" v="26" actId="164"/>
          <ac:grpSpMkLst>
            <pc:docMk/>
            <pc:sldMk cId="0" sldId="310"/>
            <ac:grpSpMk id="8" creationId="{00000000-0000-0000-0000-000000000000}"/>
          </ac:grpSpMkLst>
        </pc:grpChg>
        <pc:grpChg chg="mod topLvl">
          <ac:chgData name="Rishab Raj" userId="490594e268589d93" providerId="LiveId" clId="{0020963F-B7C8-479B-BA2A-7B7CBD1F9027}" dt="2023-10-12T17:53:20.850" v="26" actId="164"/>
          <ac:grpSpMkLst>
            <pc:docMk/>
            <pc:sldMk cId="0" sldId="310"/>
            <ac:grpSpMk id="10" creationId="{00000000-0000-0000-0000-000000000000}"/>
          </ac:grpSpMkLst>
        </pc:grpChg>
        <pc:grpChg chg="mod topLvl">
          <ac:chgData name="Rishab Raj" userId="490594e268589d93" providerId="LiveId" clId="{0020963F-B7C8-479B-BA2A-7B7CBD1F9027}" dt="2023-10-12T17:53:20.850" v="26" actId="164"/>
          <ac:grpSpMkLst>
            <pc:docMk/>
            <pc:sldMk cId="0" sldId="310"/>
            <ac:grpSpMk id="12" creationId="{00000000-0000-0000-0000-000000000000}"/>
          </ac:grpSpMkLst>
        </pc:grpChg>
        <pc:grpChg chg="mod topLvl">
          <ac:chgData name="Rishab Raj" userId="490594e268589d93" providerId="LiveId" clId="{0020963F-B7C8-479B-BA2A-7B7CBD1F9027}" dt="2023-10-12T17:53:20.850" v="26" actId="164"/>
          <ac:grpSpMkLst>
            <pc:docMk/>
            <pc:sldMk cId="0" sldId="310"/>
            <ac:grpSpMk id="14" creationId="{00000000-0000-0000-0000-000000000000}"/>
          </ac:grpSpMkLst>
        </pc:grpChg>
        <pc:grpChg chg="mod topLvl">
          <ac:chgData name="Rishab Raj" userId="490594e268589d93" providerId="LiveId" clId="{0020963F-B7C8-479B-BA2A-7B7CBD1F9027}" dt="2023-10-12T17:53:20.850" v="26" actId="164"/>
          <ac:grpSpMkLst>
            <pc:docMk/>
            <pc:sldMk cId="0" sldId="310"/>
            <ac:grpSpMk id="16" creationId="{00000000-0000-0000-0000-000000000000}"/>
          </ac:grpSpMkLst>
        </pc:grpChg>
        <pc:grpChg chg="del">
          <ac:chgData name="Rishab Raj" userId="490594e268589d93" providerId="LiveId" clId="{0020963F-B7C8-479B-BA2A-7B7CBD1F9027}" dt="2023-10-12T17:53:00.503" v="23" actId="165"/>
          <ac:grpSpMkLst>
            <pc:docMk/>
            <pc:sldMk cId="0" sldId="310"/>
            <ac:grpSpMk id="30" creationId="{021EB04E-2F54-3807-EE1C-B3B317CB1BAD}"/>
          </ac:grpSpMkLst>
        </pc:grpChg>
        <pc:grpChg chg="add mod">
          <ac:chgData name="Rishab Raj" userId="490594e268589d93" providerId="LiveId" clId="{0020963F-B7C8-479B-BA2A-7B7CBD1F9027}" dt="2023-10-12T17:53:20.850" v="26" actId="164"/>
          <ac:grpSpMkLst>
            <pc:docMk/>
            <pc:sldMk cId="0" sldId="310"/>
            <ac:grpSpMk id="31" creationId="{536D3447-2026-6091-11EC-E47083AF3356}"/>
          </ac:grpSpMkLst>
        </pc:gr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8F7941-4DE2-4428-A4A6-A04E6F1296B2}" type="datetimeFigureOut">
              <a:rPr lang="en-US" smtClean="0"/>
              <a:t>10/1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E5F554-31DA-4A3C-8080-A7FCF6F45E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3681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24DA73-AE27-4433-BD53-3E1DB61918F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53B4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53B48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70483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AD530B-8EC8-4709-B322-33BDFA1ED3DA}" type="slidenum">
              <a:rPr kumimoji="0" lang="de-DE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353B4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DE" altLang="de-DE" sz="1200" b="0" i="0" u="none" strike="noStrike" kern="1200" cap="none" spc="0" normalizeH="0" baseline="0" noProof="0">
              <a:ln>
                <a:noFill/>
              </a:ln>
              <a:solidFill>
                <a:srgbClr val="353B48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3529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AD530B-8EC8-4709-B322-33BDFA1ED3DA}" type="slidenum">
              <a:rPr kumimoji="0" lang="de-DE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353B4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353B48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53070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AD530B-8EC8-4709-B322-33BDFA1ED3DA}" type="slidenum">
              <a:rPr kumimoji="0" lang="de-DE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353B4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353B48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56179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AD530B-8EC8-4709-B322-33BDFA1ED3DA}" type="slidenum">
              <a:rPr kumimoji="0" lang="de-DE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353B4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353B48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54310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AD530B-8EC8-4709-B322-33BDFA1ED3DA}" type="slidenum">
              <a:rPr kumimoji="0" lang="de-DE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353B4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353B48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93484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AD530B-8EC8-4709-B322-33BDFA1ED3DA}" type="slidenum">
              <a:rPr kumimoji="0" lang="de-DE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353B4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353B48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81365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E5F554-31DA-4A3C-8080-A7FCF6F45E9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991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E5F554-31DA-4A3C-8080-A7FCF6F45E9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5293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E5F554-31DA-4A3C-8080-A7FCF6F45E9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5884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E5F554-31DA-4A3C-8080-A7FCF6F45E9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3038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E5F554-31DA-4A3C-8080-A7FCF6F45E9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9999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2602009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numCol="1"/>
          <a:lstStyle/>
          <a:p>
            <a:r>
              <a:rPr lang="en-US" dirty="0"/>
              <a:t>Click to edit Master title style</a:t>
            </a:r>
            <a:endParaRPr lang="en-GB" altLang="en-GB" dirty="0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numCol="1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alt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940432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2037D5-9F9A-4CC9-98B0-68BDD36B0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5055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51" imgH="450" progId="TCLayout.ActiveDocument.1">
                  <p:embed/>
                </p:oleObj>
              </mc:Choice>
              <mc:Fallback>
                <p:oleObj name="think-cell Slide" r:id="rId7" imgW="451" imgH="45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D2037D5-9F9A-4CC9-98B0-68BDD36B0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E612F5A-FB47-481F-9DE2-4A75D564380A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vert="horz" lIns="0" tIns="0" rIns="0" bIns="0" numCol="1" rtlCol="0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57200" y="6864350"/>
            <a:ext cx="314325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10/12/2023</a:t>
            </a:fld>
            <a:endParaRPr lang="en-US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71525" y="6864350"/>
            <a:ext cx="533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304925" y="6864350"/>
            <a:ext cx="152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17BCDC7-33E6-4E0D-8470-BD003682192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009789" y="384048"/>
            <a:ext cx="711200" cy="616373"/>
          </a:xfrm>
          <a:prstGeom prst="rect">
            <a:avLst/>
          </a:prstGeom>
        </p:spPr>
      </p:pic>
    </p:spTree>
    <p:custDataLst>
      <p:tags r:id="rId4"/>
    </p:custDataLst>
    <p:extLst>
      <p:ext uri="{BB962C8B-B14F-4D97-AF65-F5344CB8AC3E}">
        <p14:creationId xmlns:p14="http://schemas.microsoft.com/office/powerpoint/2010/main" val="221840646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3200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tx1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2400" kern="0">
          <a:solidFill>
            <a:schemeClr val="tx1"/>
          </a:solidFill>
          <a:latin typeface="+mn-lt"/>
          <a:ea typeface="+mn-ea"/>
          <a:cs typeface="+mn-cs"/>
        </a:defRPr>
      </a:lvl3pPr>
      <a:lvl4pPr marL="50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5pPr>
      <a:lvl6pPr marL="1008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7pPr>
      <a:lvl8pPr marL="1512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8pPr>
      <a:lvl9pPr marL="176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1pPr>
      <a:lvl2pPr marL="25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2pPr>
      <a:lvl3pPr marL="50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3pPr>
      <a:lvl4pPr marL="756000" algn="l" defTabSz="914400" rtl="0" eaLnBrk="1" latinLnBrk="0" hangingPunct="1">
        <a:defRPr sz="200" kern="0">
          <a:solidFill>
            <a:schemeClr val="tx1"/>
          </a:solidFill>
          <a:latin typeface="+mn-lt"/>
          <a:ea typeface="+mn-ea"/>
          <a:cs typeface="+mn-cs"/>
        </a:defRPr>
      </a:lvl4pPr>
      <a:lvl5pPr marL="1008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5pPr>
      <a:lvl6pPr marL="1260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6pPr>
      <a:lvl7pPr marL="151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7pPr>
      <a:lvl8pPr marL="176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8pPr>
      <a:lvl9pPr marL="2016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4">
          <p15:clr>
            <a:srgbClr val="C35EA4"/>
          </p15:clr>
        </p15:guide>
        <p15:guide id="2" pos="7328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4" Type="http://schemas.openxmlformats.org/officeDocument/2006/relationships/image" Target="../media/image10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5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5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5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Relationship Id="rId6" Type="http://schemas.microsoft.com/office/2017/06/relationships/model3d" Target="../media/model3d1.glb"/><Relationship Id="rId5" Type="http://schemas.openxmlformats.org/officeDocument/2006/relationships/image" Target="../media/image25.png"/><Relationship Id="rId4" Type="http://schemas.openxmlformats.org/officeDocument/2006/relationships/image" Target="../media/image10.emf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17/06/relationships/model3d" Target="../media/model3d1.glb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5.png"/><Relationship Id="rId18" Type="http://schemas.openxmlformats.org/officeDocument/2006/relationships/slide" Target="slide25.xml"/><Relationship Id="rId3" Type="http://schemas.openxmlformats.org/officeDocument/2006/relationships/tags" Target="../tags/tag9.xml"/><Relationship Id="rId21" Type="http://schemas.openxmlformats.org/officeDocument/2006/relationships/slide" Target="slide28.xml"/><Relationship Id="rId7" Type="http://schemas.openxmlformats.org/officeDocument/2006/relationships/image" Target="../media/image3.emf"/><Relationship Id="rId12" Type="http://schemas.openxmlformats.org/officeDocument/2006/relationships/slide" Target="slide14.xml"/><Relationship Id="rId17" Type="http://schemas.openxmlformats.org/officeDocument/2006/relationships/image" Target="../media/image7.png"/><Relationship Id="rId25" Type="http://schemas.openxmlformats.org/officeDocument/2006/relationships/image" Target="../media/image9.png"/><Relationship Id="rId2" Type="http://schemas.openxmlformats.org/officeDocument/2006/relationships/tags" Target="../tags/tag8.xml"/><Relationship Id="rId16" Type="http://schemas.openxmlformats.org/officeDocument/2006/relationships/image" Target="../media/image6.png"/><Relationship Id="rId20" Type="http://schemas.openxmlformats.org/officeDocument/2006/relationships/image" Target="../media/image8.png"/><Relationship Id="rId1" Type="http://schemas.openxmlformats.org/officeDocument/2006/relationships/tags" Target="../tags/tag7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5.png"/><Relationship Id="rId24" Type="http://schemas.openxmlformats.org/officeDocument/2006/relationships/slide" Target="slide31.xml"/><Relationship Id="rId5" Type="http://schemas.openxmlformats.org/officeDocument/2006/relationships/notesSlide" Target="../notesSlides/notesSlide1.xml"/><Relationship Id="rId15" Type="http://schemas.openxmlformats.org/officeDocument/2006/relationships/slide" Target="slide18.xml"/><Relationship Id="rId23" Type="http://schemas.openxmlformats.org/officeDocument/2006/relationships/image" Target="../media/image9.png"/><Relationship Id="rId10" Type="http://schemas.openxmlformats.org/officeDocument/2006/relationships/image" Target="../media/image4.png"/><Relationship Id="rId19" Type="http://schemas.openxmlformats.org/officeDocument/2006/relationships/image" Target="../media/image70.png"/><Relationship Id="rId4" Type="http://schemas.openxmlformats.org/officeDocument/2006/relationships/slideLayout" Target="../slideLayouts/slideLayout2.xml"/><Relationship Id="rId9" Type="http://schemas.openxmlformats.org/officeDocument/2006/relationships/slide" Target="slide3.xml"/><Relationship Id="rId14" Type="http://schemas.openxmlformats.org/officeDocument/2006/relationships/image" Target="../media/image6.png"/><Relationship Id="rId22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microsoft.com/office/2017/06/relationships/model3d" Target="../media/model3d1.glb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17/06/relationships/model3d" Target="../media/model3d1.glb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3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2.png"/><Relationship Id="rId4" Type="http://schemas.openxmlformats.org/officeDocument/2006/relationships/image" Target="../media/image34.png"/><Relationship Id="rId9" Type="http://schemas.openxmlformats.org/officeDocument/2006/relationships/image" Target="../media/image25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3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2.png"/><Relationship Id="rId4" Type="http://schemas.openxmlformats.org/officeDocument/2006/relationships/image" Target="../media/image34.png"/><Relationship Id="rId9" Type="http://schemas.openxmlformats.org/officeDocument/2006/relationships/image" Target="../media/image2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5" Type="http://schemas.openxmlformats.org/officeDocument/2006/relationships/image" Target="../media/image38.jpg"/><Relationship Id="rId4" Type="http://schemas.openxmlformats.org/officeDocument/2006/relationships/image" Target="../media/image10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8.jp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8.jp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3.xml"/><Relationship Id="rId4" Type="http://schemas.openxmlformats.org/officeDocument/2006/relationships/image" Target="../media/image10.emf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4" Type="http://schemas.openxmlformats.org/officeDocument/2006/relationships/image" Target="../media/image10.emf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4.xml"/><Relationship Id="rId4" Type="http://schemas.openxmlformats.org/officeDocument/2006/relationships/image" Target="../media/image10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3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7.xml"/><Relationship Id="rId5" Type="http://schemas.openxmlformats.org/officeDocument/2006/relationships/image" Target="../media/image44.png"/><Relationship Id="rId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7" Type="http://schemas.openxmlformats.org/officeDocument/2006/relationships/image" Target="../media/image15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image" Target="../media/image14.jpg"/><Relationship Id="rId5" Type="http://schemas.openxmlformats.org/officeDocument/2006/relationships/image" Target="../media/image13.jpg"/><Relationship Id="rId4" Type="http://schemas.openxmlformats.org/officeDocument/2006/relationships/image" Target="../media/image12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jp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2.jpg"/><Relationship Id="rId5" Type="http://schemas.openxmlformats.org/officeDocument/2006/relationships/image" Target="../media/image3.emf"/><Relationship Id="rId10" Type="http://schemas.openxmlformats.org/officeDocument/2006/relationships/image" Target="../media/image13.jp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1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tags" Target="../tags/tag15.xml"/><Relationship Id="rId7" Type="http://schemas.openxmlformats.org/officeDocument/2006/relationships/image" Target="../media/image14.jpg"/><Relationship Id="rId2" Type="http://schemas.openxmlformats.org/officeDocument/2006/relationships/tags" Target="../tags/tag14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3.emf"/><Relationship Id="rId11" Type="http://schemas.openxmlformats.org/officeDocument/2006/relationships/image" Target="../media/image11.jp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2.jp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3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4.jpg"/><Relationship Id="rId5" Type="http://schemas.openxmlformats.org/officeDocument/2006/relationships/image" Target="../media/image3.emf"/><Relationship Id="rId10" Type="http://schemas.openxmlformats.org/officeDocument/2006/relationships/image" Target="../media/image13.jp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1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jp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5.jpg"/><Relationship Id="rId5" Type="http://schemas.openxmlformats.org/officeDocument/2006/relationships/image" Target="../media/image3.emf"/><Relationship Id="rId10" Type="http://schemas.openxmlformats.org/officeDocument/2006/relationships/image" Target="../media/image14.jp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2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5C30878-DBD3-456C-99A7-6C94BC8B5130}"/>
              </a:ext>
            </a:extLst>
          </p:cNvPr>
          <p:cNvSpPr txBox="1">
            <a:spLocks/>
          </p:cNvSpPr>
          <p:nvPr/>
        </p:nvSpPr>
        <p:spPr>
          <a:xfrm>
            <a:off x="863600" y="3429000"/>
            <a:ext cx="10749280" cy="2275046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8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6000" b="0" i="0" u="none" strike="noStrike" kern="0" cap="none" spc="0" normalizeH="0" baseline="0" noProof="0" dirty="0" err="1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Black"/>
                <a:ea typeface="+mn-ea"/>
                <a:cs typeface="+mn-cs"/>
              </a:rPr>
              <a:t>Evenmore</a:t>
            </a:r>
            <a:endParaRPr kumimoji="0" lang="en-US" sz="6000" b="0" i="0" u="none" strike="noStrike" kern="0" cap="none" spc="0" normalizeH="0" baseline="0" noProof="0" dirty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srgbClr val="00A8FF"/>
                </a:solidFill>
                <a:effectLst/>
                <a:uLnTx/>
                <a:uFillTx/>
                <a:latin typeface="Segoe UI Black"/>
                <a:ea typeface="+mn-ea"/>
                <a:cs typeface="+mn-cs"/>
              </a:rPr>
              <a:t>Events, Culture, </a:t>
            </a:r>
            <a:r>
              <a:rPr lang="en-US" sz="4400" dirty="0">
                <a:solidFill>
                  <a:srgbClr val="00A8FF"/>
                </a:solidFill>
                <a:latin typeface="Segoe UI Black"/>
              </a:rPr>
              <a:t>Community</a:t>
            </a: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srgbClr val="00A8FF"/>
                </a:solidFill>
                <a:effectLst/>
                <a:uLnTx/>
                <a:uFillTx/>
                <a:latin typeface="Segoe UI Black"/>
                <a:ea typeface="+mn-ea"/>
                <a:cs typeface="+mn-cs"/>
              </a:rPr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ADB5E98-6435-679B-A18B-CC8C658DFE4B}"/>
              </a:ext>
            </a:extLst>
          </p:cNvPr>
          <p:cNvSpPr txBox="1"/>
          <p:nvPr/>
        </p:nvSpPr>
        <p:spPr>
          <a:xfrm>
            <a:off x="863600" y="5334714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1" u="none" strike="noStrike" kern="1200" cap="none" spc="0" normalizeH="0" baseline="0" noProof="0" dirty="0" err="1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Hypyxel</a:t>
            </a:r>
            <a:endParaRPr kumimoji="0" lang="en-US" sz="2400" i="1" u="none" strike="noStrike" kern="1200" cap="none" spc="0" normalizeH="0" baseline="0" noProof="0" dirty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991233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43111" y="929683"/>
            <a:ext cx="8549189" cy="5704640"/>
          </a:xfrm>
          <a:custGeom>
            <a:avLst/>
            <a:gdLst/>
            <a:ahLst/>
            <a:cxnLst/>
            <a:rect l="l" t="t" r="r" b="b"/>
            <a:pathLst>
              <a:path w="12823783" h="8556960">
                <a:moveTo>
                  <a:pt x="0" y="0"/>
                </a:moveTo>
                <a:lnTo>
                  <a:pt x="12823783" y="0"/>
                </a:lnTo>
                <a:lnTo>
                  <a:pt x="12823783" y="8556960"/>
                </a:lnTo>
                <a:lnTo>
                  <a:pt x="0" y="855696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3" name="Freeform 3"/>
          <p:cNvSpPr/>
          <p:nvPr/>
        </p:nvSpPr>
        <p:spPr>
          <a:xfrm>
            <a:off x="7615618" y="245721"/>
            <a:ext cx="4197509" cy="6612279"/>
          </a:xfrm>
          <a:custGeom>
            <a:avLst/>
            <a:gdLst/>
            <a:ahLst/>
            <a:cxnLst/>
            <a:rect l="l" t="t" r="r" b="b"/>
            <a:pathLst>
              <a:path w="6296264" h="9918418">
                <a:moveTo>
                  <a:pt x="0" y="0"/>
                </a:moveTo>
                <a:lnTo>
                  <a:pt x="6296264" y="0"/>
                </a:lnTo>
                <a:lnTo>
                  <a:pt x="6296264" y="9918418"/>
                </a:lnTo>
                <a:lnTo>
                  <a:pt x="0" y="9918418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4" name="Group 4"/>
          <p:cNvGrpSpPr>
            <a:grpSpLocks noChangeAspect="1"/>
          </p:cNvGrpSpPr>
          <p:nvPr/>
        </p:nvGrpSpPr>
        <p:grpSpPr>
          <a:xfrm>
            <a:off x="7815983" y="2323997"/>
            <a:ext cx="3611763" cy="3611749"/>
            <a:chOff x="0" y="0"/>
            <a:chExt cx="6350025" cy="6350000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6350026" cy="6350000"/>
            </a:xfrm>
            <a:custGeom>
              <a:avLst/>
              <a:gdLst/>
              <a:ahLst/>
              <a:cxnLst/>
              <a:rect l="l" t="t" r="r" b="b"/>
              <a:pathLst>
                <a:path w="6350026" h="6350000">
                  <a:moveTo>
                    <a:pt x="0" y="0"/>
                  </a:moveTo>
                  <a:lnTo>
                    <a:pt x="6350026" y="0"/>
                  </a:lnTo>
                  <a:lnTo>
                    <a:pt x="6350026" y="6350000"/>
                  </a:lnTo>
                  <a:lnTo>
                    <a:pt x="0" y="6350000"/>
                  </a:lnTo>
                  <a:close/>
                </a:path>
              </a:pathLst>
            </a:custGeom>
            <a:blipFill>
              <a:blip r:embed="rId6"/>
              <a:stretch>
                <a:fillRect l="-17434" r="-17434"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</p:grpSp>
      <p:sp>
        <p:nvSpPr>
          <p:cNvPr id="6" name="TextBox 6"/>
          <p:cNvSpPr txBox="1"/>
          <p:nvPr/>
        </p:nvSpPr>
        <p:spPr>
          <a:xfrm>
            <a:off x="743236" y="1745548"/>
            <a:ext cx="5686987" cy="369780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925"/>
              </a:lnSpc>
            </a:pPr>
            <a:r>
              <a:rPr lang="en-US" sz="2000" dirty="0">
                <a:solidFill>
                  <a:srgbClr val="352F27"/>
                </a:solidFill>
                <a:latin typeface="Poppins"/>
              </a:rPr>
              <a:t>I'm Raksha </a:t>
            </a:r>
            <a:r>
              <a:rPr lang="en-US" sz="2000">
                <a:solidFill>
                  <a:srgbClr val="352F27"/>
                </a:solidFill>
                <a:latin typeface="Poppins"/>
              </a:rPr>
              <a:t>Rajasimha</a:t>
            </a:r>
            <a:r>
              <a:rPr lang="en-US" sz="2000" dirty="0">
                <a:solidFill>
                  <a:srgbClr val="352F27"/>
                </a:solidFill>
                <a:latin typeface="Poppins"/>
              </a:rPr>
              <a:t>, a 26-year-old data wizard with a Master of Science in Business Analytics.</a:t>
            </a:r>
            <a:r>
              <a:rPr lang="en-US" sz="2000">
                <a:solidFill>
                  <a:srgbClr val="352F27"/>
                </a:solidFill>
                <a:latin typeface="Poppins"/>
              </a:rPr>
              <a:t> </a:t>
            </a:r>
            <a:r>
              <a:rPr lang="en-US" sz="2000" dirty="0">
                <a:solidFill>
                  <a:srgbClr val="352F27"/>
                </a:solidFill>
                <a:latin typeface="Poppins"/>
              </a:rPr>
              <a:t> I spent a couple of years at Tesco, where I got a taste of the retail hustle.</a:t>
            </a:r>
            <a:r>
              <a:rPr lang="en-US" sz="2000">
                <a:solidFill>
                  <a:srgbClr val="352F27"/>
                </a:solidFill>
                <a:latin typeface="Poppins"/>
              </a:rPr>
              <a:t> </a:t>
            </a:r>
            <a:endParaRPr lang="en-US" sz="2000" dirty="0">
              <a:solidFill>
                <a:srgbClr val="352F27"/>
              </a:solidFill>
              <a:latin typeface="Poppins"/>
            </a:endParaRPr>
          </a:p>
          <a:p>
            <a:pPr>
              <a:lnSpc>
                <a:spcPts val="2925"/>
              </a:lnSpc>
            </a:pPr>
            <a:endParaRPr lang="en-US" sz="2000" dirty="0">
              <a:solidFill>
                <a:srgbClr val="352F27"/>
              </a:solidFill>
              <a:latin typeface="Poppins"/>
            </a:endParaRPr>
          </a:p>
          <a:p>
            <a:pPr>
              <a:lnSpc>
                <a:spcPts val="2925"/>
              </a:lnSpc>
            </a:pPr>
            <a:r>
              <a:rPr lang="en-US" sz="2000" dirty="0">
                <a:solidFill>
                  <a:srgbClr val="352F27"/>
                </a:solidFill>
                <a:latin typeface="Poppins"/>
              </a:rPr>
              <a:t>When I'm not </a:t>
            </a:r>
            <a:r>
              <a:rPr lang="en-US" sz="2000">
                <a:solidFill>
                  <a:srgbClr val="352F27"/>
                </a:solidFill>
                <a:latin typeface="Poppins"/>
              </a:rPr>
              <a:t>working</a:t>
            </a:r>
            <a:r>
              <a:rPr lang="en-US" sz="2000" dirty="0">
                <a:solidFill>
                  <a:srgbClr val="352F27"/>
                </a:solidFill>
                <a:latin typeface="Poppins"/>
              </a:rPr>
              <a:t>, you'll likely find me exploring my passion for all things German – whether it's savoring bratwurst, attempting to speak the language, or diving into the rich world of German events.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43111" y="929683"/>
            <a:ext cx="8549189" cy="5704640"/>
          </a:xfrm>
          <a:custGeom>
            <a:avLst/>
            <a:gdLst/>
            <a:ahLst/>
            <a:cxnLst/>
            <a:rect l="l" t="t" r="r" b="b"/>
            <a:pathLst>
              <a:path w="12823783" h="8556960">
                <a:moveTo>
                  <a:pt x="0" y="0"/>
                </a:moveTo>
                <a:lnTo>
                  <a:pt x="12823783" y="0"/>
                </a:lnTo>
                <a:lnTo>
                  <a:pt x="12823783" y="8556960"/>
                </a:lnTo>
                <a:lnTo>
                  <a:pt x="0" y="855696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3" name="Freeform 3"/>
          <p:cNvSpPr/>
          <p:nvPr/>
        </p:nvSpPr>
        <p:spPr>
          <a:xfrm>
            <a:off x="7615618" y="245721"/>
            <a:ext cx="4197509" cy="6612279"/>
          </a:xfrm>
          <a:custGeom>
            <a:avLst/>
            <a:gdLst/>
            <a:ahLst/>
            <a:cxnLst/>
            <a:rect l="l" t="t" r="r" b="b"/>
            <a:pathLst>
              <a:path w="6296264" h="9918418">
                <a:moveTo>
                  <a:pt x="0" y="0"/>
                </a:moveTo>
                <a:lnTo>
                  <a:pt x="6296264" y="0"/>
                </a:lnTo>
                <a:lnTo>
                  <a:pt x="6296264" y="9918418"/>
                </a:lnTo>
                <a:lnTo>
                  <a:pt x="0" y="9918418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4" name="Group 4"/>
          <p:cNvGrpSpPr>
            <a:grpSpLocks noChangeAspect="1"/>
          </p:cNvGrpSpPr>
          <p:nvPr/>
        </p:nvGrpSpPr>
        <p:grpSpPr>
          <a:xfrm>
            <a:off x="7815983" y="2323997"/>
            <a:ext cx="3611763" cy="3611749"/>
            <a:chOff x="0" y="0"/>
            <a:chExt cx="6350025" cy="6350000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6350026" cy="6350000"/>
            </a:xfrm>
            <a:custGeom>
              <a:avLst/>
              <a:gdLst/>
              <a:ahLst/>
              <a:cxnLst/>
              <a:rect l="l" t="t" r="r" b="b"/>
              <a:pathLst>
                <a:path w="6350026" h="6350000">
                  <a:moveTo>
                    <a:pt x="0" y="0"/>
                  </a:moveTo>
                  <a:lnTo>
                    <a:pt x="6350026" y="0"/>
                  </a:lnTo>
                  <a:lnTo>
                    <a:pt x="6350026" y="6350000"/>
                  </a:lnTo>
                  <a:lnTo>
                    <a:pt x="0" y="6350000"/>
                  </a:lnTo>
                  <a:close/>
                </a:path>
              </a:pathLst>
            </a:custGeom>
            <a:blipFill>
              <a:blip r:embed="rId6"/>
              <a:stretch>
                <a:fillRect l="-1470" r="-1470"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</p:grpSp>
      <p:sp>
        <p:nvSpPr>
          <p:cNvPr id="6" name="TextBox 6"/>
          <p:cNvSpPr txBox="1"/>
          <p:nvPr/>
        </p:nvSpPr>
        <p:spPr>
          <a:xfrm>
            <a:off x="685800" y="1903546"/>
            <a:ext cx="5686987" cy="37010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925"/>
              </a:lnSpc>
            </a:pPr>
            <a:r>
              <a:rPr lang="en-US" sz="2000" dirty="0">
                <a:solidFill>
                  <a:srgbClr val="352F27"/>
                </a:solidFill>
                <a:latin typeface="Poppins"/>
              </a:rPr>
              <a:t> I'm </a:t>
            </a:r>
            <a:r>
              <a:rPr lang="en-US" sz="2000" dirty="0" err="1">
                <a:solidFill>
                  <a:srgbClr val="352F27"/>
                </a:solidFill>
                <a:latin typeface="Poppins"/>
              </a:rPr>
              <a:t>Ritica</a:t>
            </a:r>
            <a:r>
              <a:rPr lang="en-US" sz="2000" dirty="0">
                <a:solidFill>
                  <a:srgbClr val="352F27"/>
                </a:solidFill>
                <a:latin typeface="Poppins"/>
              </a:rPr>
              <a:t>, a 23-year-old diving into the world of Salesforce. I'm currently pursuing a Master's in Business Analytics, and when I'm not studying, I'm all about exploring the delicious world of Korean cuisine and getting lost in the drama of K-dramas. </a:t>
            </a:r>
          </a:p>
          <a:p>
            <a:pPr>
              <a:lnSpc>
                <a:spcPts val="2925"/>
              </a:lnSpc>
            </a:pPr>
            <a:endParaRPr lang="en-US" sz="2000" dirty="0">
              <a:solidFill>
                <a:srgbClr val="352F27"/>
              </a:solidFill>
              <a:latin typeface="Poppins"/>
            </a:endParaRPr>
          </a:p>
          <a:p>
            <a:pPr>
              <a:lnSpc>
                <a:spcPts val="2925"/>
              </a:lnSpc>
            </a:pPr>
            <a:r>
              <a:rPr lang="en-US" sz="2000" dirty="0">
                <a:solidFill>
                  <a:srgbClr val="352F27"/>
                </a:solidFill>
                <a:latin typeface="Poppins"/>
              </a:rPr>
              <a:t>Right now, I'm gaining some real-world experience through my internship at </a:t>
            </a:r>
            <a:r>
              <a:rPr lang="en-US" sz="2000" dirty="0" err="1">
                <a:solidFill>
                  <a:srgbClr val="352F27"/>
                </a:solidFill>
                <a:latin typeface="Poppins"/>
              </a:rPr>
              <a:t>MyUtilities</a:t>
            </a:r>
            <a:r>
              <a:rPr lang="en-US" sz="2000" dirty="0">
                <a:solidFill>
                  <a:srgbClr val="352F27"/>
                </a:solidFill>
                <a:latin typeface="Poppins"/>
              </a:rPr>
              <a:t>. 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43111" y="929683"/>
            <a:ext cx="8549189" cy="5704640"/>
          </a:xfrm>
          <a:custGeom>
            <a:avLst/>
            <a:gdLst/>
            <a:ahLst/>
            <a:cxnLst/>
            <a:rect l="l" t="t" r="r" b="b"/>
            <a:pathLst>
              <a:path w="12823783" h="8556960">
                <a:moveTo>
                  <a:pt x="0" y="0"/>
                </a:moveTo>
                <a:lnTo>
                  <a:pt x="12823783" y="0"/>
                </a:lnTo>
                <a:lnTo>
                  <a:pt x="12823783" y="8556960"/>
                </a:lnTo>
                <a:lnTo>
                  <a:pt x="0" y="855696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3" name="Freeform 3"/>
          <p:cNvSpPr/>
          <p:nvPr/>
        </p:nvSpPr>
        <p:spPr>
          <a:xfrm>
            <a:off x="7615618" y="245721"/>
            <a:ext cx="4197509" cy="6612279"/>
          </a:xfrm>
          <a:custGeom>
            <a:avLst/>
            <a:gdLst/>
            <a:ahLst/>
            <a:cxnLst/>
            <a:rect l="l" t="t" r="r" b="b"/>
            <a:pathLst>
              <a:path w="6296264" h="9918418">
                <a:moveTo>
                  <a:pt x="0" y="0"/>
                </a:moveTo>
                <a:lnTo>
                  <a:pt x="6296264" y="0"/>
                </a:lnTo>
                <a:lnTo>
                  <a:pt x="6296264" y="9918418"/>
                </a:lnTo>
                <a:lnTo>
                  <a:pt x="0" y="9918418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4" name="Group 4"/>
          <p:cNvGrpSpPr>
            <a:grpSpLocks noChangeAspect="1"/>
          </p:cNvGrpSpPr>
          <p:nvPr/>
        </p:nvGrpSpPr>
        <p:grpSpPr>
          <a:xfrm>
            <a:off x="7815983" y="2323997"/>
            <a:ext cx="3611763" cy="3611749"/>
            <a:chOff x="0" y="0"/>
            <a:chExt cx="6350025" cy="6350000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6350026" cy="6350000"/>
            </a:xfrm>
            <a:custGeom>
              <a:avLst/>
              <a:gdLst/>
              <a:ahLst/>
              <a:cxnLst/>
              <a:rect l="l" t="t" r="r" b="b"/>
              <a:pathLst>
                <a:path w="6350026" h="6350000">
                  <a:moveTo>
                    <a:pt x="0" y="0"/>
                  </a:moveTo>
                  <a:lnTo>
                    <a:pt x="6350026" y="0"/>
                  </a:lnTo>
                  <a:lnTo>
                    <a:pt x="6350026" y="6350000"/>
                  </a:lnTo>
                  <a:lnTo>
                    <a:pt x="0" y="6350000"/>
                  </a:lnTo>
                  <a:close/>
                </a:path>
              </a:pathLst>
            </a:custGeom>
            <a:blipFill>
              <a:blip r:embed="rId6"/>
              <a:stretch>
                <a:fillRect t="-5410" b="-5410"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</p:grpSp>
      <p:sp>
        <p:nvSpPr>
          <p:cNvPr id="6" name="TextBox 6"/>
          <p:cNvSpPr txBox="1"/>
          <p:nvPr/>
        </p:nvSpPr>
        <p:spPr>
          <a:xfrm>
            <a:off x="764253" y="1701353"/>
            <a:ext cx="5686987" cy="369780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925"/>
              </a:lnSpc>
            </a:pPr>
            <a:r>
              <a:rPr lang="en-US" sz="2000" dirty="0">
                <a:solidFill>
                  <a:srgbClr val="352F27"/>
                </a:solidFill>
                <a:latin typeface="Poppins"/>
              </a:rPr>
              <a:t> I'm Ashwin, a 21-year-old data enthusiast currently pursuing a Master's in ITM. Before that, I spent a year interning at </a:t>
            </a:r>
            <a:r>
              <a:rPr lang="en-US" sz="2000" dirty="0" err="1">
                <a:solidFill>
                  <a:srgbClr val="352F27"/>
                </a:solidFill>
                <a:latin typeface="Poppins"/>
              </a:rPr>
              <a:t>SpotFlock</a:t>
            </a:r>
            <a:r>
              <a:rPr lang="en-US" sz="2000" dirty="0">
                <a:solidFill>
                  <a:srgbClr val="352F27"/>
                </a:solidFill>
                <a:latin typeface="Poppins"/>
              </a:rPr>
              <a:t>, learning the ropes and gaining some hands-on experience. </a:t>
            </a:r>
          </a:p>
          <a:p>
            <a:pPr>
              <a:lnSpc>
                <a:spcPts val="2925"/>
              </a:lnSpc>
            </a:pPr>
            <a:endParaRPr lang="en-US" sz="2000" dirty="0">
              <a:solidFill>
                <a:srgbClr val="352F27"/>
              </a:solidFill>
              <a:latin typeface="Poppins"/>
            </a:endParaRPr>
          </a:p>
          <a:p>
            <a:pPr>
              <a:lnSpc>
                <a:spcPts val="2925"/>
              </a:lnSpc>
            </a:pPr>
            <a:r>
              <a:rPr lang="en-US" sz="2000">
                <a:solidFill>
                  <a:srgbClr val="352F27"/>
                </a:solidFill>
                <a:latin typeface="Poppins"/>
              </a:rPr>
              <a:t>My</a:t>
            </a:r>
            <a:r>
              <a:rPr lang="en-US" sz="2000" dirty="0">
                <a:solidFill>
                  <a:srgbClr val="352F27"/>
                </a:solidFill>
                <a:latin typeface="Poppins"/>
              </a:rPr>
              <a:t> </a:t>
            </a:r>
            <a:r>
              <a:rPr lang="en-US" sz="2000">
                <a:solidFill>
                  <a:srgbClr val="352F27"/>
                </a:solidFill>
                <a:latin typeface="Poppins"/>
              </a:rPr>
              <a:t>interests</a:t>
            </a:r>
            <a:r>
              <a:rPr lang="en-US" sz="2000" dirty="0">
                <a:solidFill>
                  <a:srgbClr val="352F27"/>
                </a:solidFill>
                <a:latin typeface="Poppins"/>
              </a:rPr>
              <a:t> </a:t>
            </a:r>
            <a:r>
              <a:rPr lang="en-US" sz="2000">
                <a:solidFill>
                  <a:srgbClr val="352F27"/>
                </a:solidFill>
                <a:latin typeface="Poppins"/>
              </a:rPr>
              <a:t>lie in</a:t>
            </a:r>
            <a:r>
              <a:rPr lang="en-US" sz="2000" dirty="0">
                <a:solidFill>
                  <a:srgbClr val="352F27"/>
                </a:solidFill>
                <a:latin typeface="Poppins"/>
              </a:rPr>
              <a:t> photography events. Capturing those perfect moments and emotions through my lens is my happy place.</a:t>
            </a:r>
            <a:r>
              <a:rPr lang="en-US" sz="2000">
                <a:solidFill>
                  <a:srgbClr val="352F27"/>
                </a:solidFill>
                <a:latin typeface="Poppins"/>
              </a:rPr>
              <a:t> </a:t>
            </a:r>
            <a:endParaRPr lang="en-US" sz="2000" dirty="0">
              <a:solidFill>
                <a:srgbClr val="352F27"/>
              </a:solidFill>
              <a:latin typeface="Poppins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43111" y="929683"/>
            <a:ext cx="8549189" cy="5704640"/>
          </a:xfrm>
          <a:custGeom>
            <a:avLst/>
            <a:gdLst/>
            <a:ahLst/>
            <a:cxnLst/>
            <a:rect l="l" t="t" r="r" b="b"/>
            <a:pathLst>
              <a:path w="12823783" h="8556960">
                <a:moveTo>
                  <a:pt x="0" y="0"/>
                </a:moveTo>
                <a:lnTo>
                  <a:pt x="12823783" y="0"/>
                </a:lnTo>
                <a:lnTo>
                  <a:pt x="12823783" y="8556960"/>
                </a:lnTo>
                <a:lnTo>
                  <a:pt x="0" y="855696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3" name="Freeform 3"/>
          <p:cNvSpPr/>
          <p:nvPr/>
        </p:nvSpPr>
        <p:spPr>
          <a:xfrm>
            <a:off x="7615618" y="245721"/>
            <a:ext cx="4197509" cy="6612279"/>
          </a:xfrm>
          <a:custGeom>
            <a:avLst/>
            <a:gdLst/>
            <a:ahLst/>
            <a:cxnLst/>
            <a:rect l="l" t="t" r="r" b="b"/>
            <a:pathLst>
              <a:path w="6296264" h="9918418">
                <a:moveTo>
                  <a:pt x="0" y="0"/>
                </a:moveTo>
                <a:lnTo>
                  <a:pt x="6296264" y="0"/>
                </a:lnTo>
                <a:lnTo>
                  <a:pt x="6296264" y="9918418"/>
                </a:lnTo>
                <a:lnTo>
                  <a:pt x="0" y="9918418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4" name="Group 4"/>
          <p:cNvGrpSpPr>
            <a:grpSpLocks noChangeAspect="1"/>
          </p:cNvGrpSpPr>
          <p:nvPr/>
        </p:nvGrpSpPr>
        <p:grpSpPr>
          <a:xfrm>
            <a:off x="7815983" y="2323997"/>
            <a:ext cx="3611763" cy="3611749"/>
            <a:chOff x="0" y="0"/>
            <a:chExt cx="6350025" cy="6350000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6350026" cy="6350000"/>
            </a:xfrm>
            <a:custGeom>
              <a:avLst/>
              <a:gdLst/>
              <a:ahLst/>
              <a:cxnLst/>
              <a:rect l="l" t="t" r="r" b="b"/>
              <a:pathLst>
                <a:path w="6350026" h="6350000">
                  <a:moveTo>
                    <a:pt x="0" y="0"/>
                  </a:moveTo>
                  <a:lnTo>
                    <a:pt x="6350026" y="0"/>
                  </a:lnTo>
                  <a:lnTo>
                    <a:pt x="6350026" y="6350000"/>
                  </a:lnTo>
                  <a:lnTo>
                    <a:pt x="0" y="6350000"/>
                  </a:lnTo>
                  <a:close/>
                </a:path>
              </a:pathLst>
            </a:custGeom>
            <a:blipFill>
              <a:blip r:embed="rId6"/>
              <a:stretch>
                <a:fillRect l="-1732" r="-1732"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</p:grpSp>
      <p:sp>
        <p:nvSpPr>
          <p:cNvPr id="6" name="TextBox 6"/>
          <p:cNvSpPr txBox="1"/>
          <p:nvPr/>
        </p:nvSpPr>
        <p:spPr>
          <a:xfrm>
            <a:off x="685800" y="1489253"/>
            <a:ext cx="5686987" cy="369780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925"/>
              </a:lnSpc>
            </a:pPr>
            <a:r>
              <a:rPr lang="en-US" sz="2000">
                <a:solidFill>
                  <a:srgbClr val="352F27"/>
                </a:solidFill>
                <a:latin typeface="Poppins"/>
              </a:rPr>
              <a:t> </a:t>
            </a:r>
            <a:r>
              <a:rPr lang="en-US" sz="2000" dirty="0">
                <a:solidFill>
                  <a:srgbClr val="352F27"/>
                </a:solidFill>
                <a:latin typeface="Poppins"/>
              </a:rPr>
              <a:t>I'm </a:t>
            </a:r>
            <a:r>
              <a:rPr lang="en-US" sz="2000">
                <a:solidFill>
                  <a:srgbClr val="352F27"/>
                </a:solidFill>
                <a:latin typeface="Poppins"/>
              </a:rPr>
              <a:t>Rutuja</a:t>
            </a:r>
            <a:r>
              <a:rPr lang="en-US" sz="2000" dirty="0">
                <a:solidFill>
                  <a:srgbClr val="352F27"/>
                </a:solidFill>
                <a:latin typeface="Poppins"/>
              </a:rPr>
              <a:t>, a 25-year-old on a mission to decode the secrets of products as a Product Analyst. I'm currently pursuing my Master's in ITM, and I previously worked for three years at TCS, gaining valuable experience in the corporate world.</a:t>
            </a:r>
            <a:r>
              <a:rPr lang="en-US" sz="2000">
                <a:solidFill>
                  <a:srgbClr val="352F27"/>
                </a:solidFill>
                <a:latin typeface="Poppins"/>
              </a:rPr>
              <a:t> </a:t>
            </a:r>
            <a:endParaRPr lang="en-US" sz="2000" dirty="0">
              <a:solidFill>
                <a:srgbClr val="352F27"/>
              </a:solidFill>
              <a:latin typeface="Poppins"/>
            </a:endParaRPr>
          </a:p>
          <a:p>
            <a:pPr>
              <a:lnSpc>
                <a:spcPts val="2925"/>
              </a:lnSpc>
            </a:pPr>
            <a:endParaRPr lang="en-US" sz="2000" dirty="0">
              <a:solidFill>
                <a:srgbClr val="352F27"/>
              </a:solidFill>
              <a:latin typeface="Poppins"/>
            </a:endParaRPr>
          </a:p>
          <a:p>
            <a:pPr>
              <a:lnSpc>
                <a:spcPts val="2925"/>
              </a:lnSpc>
            </a:pPr>
            <a:r>
              <a:rPr lang="en-US" sz="2000">
                <a:solidFill>
                  <a:srgbClr val="352F27"/>
                </a:solidFill>
                <a:latin typeface="Poppins"/>
              </a:rPr>
              <a:t>My interest lies</a:t>
            </a:r>
            <a:r>
              <a:rPr lang="en-US" sz="2000" dirty="0">
                <a:solidFill>
                  <a:srgbClr val="352F27"/>
                </a:solidFill>
                <a:latin typeface="Poppins"/>
              </a:rPr>
              <a:t> in the world of Indian dance events, exploring the rich tapestry of our traditional moves.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463DC58-D4E5-068E-88EA-356FFA76C8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463DC58-D4E5-068E-88EA-356FFA76C8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3577D7D-08F5-3CC7-FECA-5338E96EECEC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5BA389-C1EB-039A-A167-5C87C89561A1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7DB9518-6243-E4B3-934F-78A356695D7C}"/>
              </a:ext>
            </a:extLst>
          </p:cNvPr>
          <p:cNvSpPr txBox="1"/>
          <p:nvPr/>
        </p:nvSpPr>
        <p:spPr>
          <a:xfrm>
            <a:off x="5905429" y="3152001"/>
            <a:ext cx="542070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3600" b="0" i="0" u="none" strike="noStrike" kern="1200" cap="none" spc="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Black"/>
                <a:ea typeface="+mn-ea"/>
                <a:cs typeface="+mn-cs"/>
              </a:rPr>
              <a:t>OUR PURPOS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C1A78BD-40CA-1A03-3C3D-111B4C068940}"/>
              </a:ext>
            </a:extLst>
          </p:cNvPr>
          <p:cNvSpPr txBox="1">
            <a:spLocks/>
          </p:cNvSpPr>
          <p:nvPr/>
        </p:nvSpPr>
        <p:spPr>
          <a:xfrm>
            <a:off x="1448017" y="2176780"/>
            <a:ext cx="3850640" cy="2504440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8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25000" b="0" i="0" u="none" strike="noStrike" kern="0" cap="none" spc="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Black"/>
                <a:ea typeface="+mn-ea"/>
                <a:cs typeface="+mn-cs"/>
              </a:rPr>
              <a:t>02</a:t>
            </a:r>
            <a:endParaRPr kumimoji="0" lang="en-US" sz="25000" b="0" i="0" u="none" strike="noStrike" kern="0" cap="none" spc="0" normalizeH="0" baseline="0" noProof="0" dirty="0">
              <a:ln>
                <a:noFill/>
              </a:ln>
              <a:solidFill>
                <a:srgbClr val="00A8FF"/>
              </a:solidFill>
              <a:effectLst/>
              <a:uLnTx/>
              <a:uFillTx/>
              <a:latin typeface="Segoe UI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9171267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1765302" y="1183144"/>
            <a:ext cx="4322786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800" b="0" i="0" u="none" strike="noStrike" kern="1200" cap="none" spc="300" normalizeH="0" baseline="0" noProof="0" dirty="0">
                <a:ln>
                  <a:noFill/>
                </a:ln>
                <a:solidFill>
                  <a:srgbClr val="CB225B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PROBLEM STATEMENT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1173191" y="814358"/>
            <a:ext cx="455584" cy="455584"/>
          </a:xfrm>
          <a:prstGeom prst="ellipse">
            <a:avLst/>
          </a:prstGeom>
          <a:solidFill>
            <a:srgbClr val="8B173E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A2A0F6-5FFE-4D0B-B57E-ECA81C5E7276}"/>
              </a:ext>
            </a:extLst>
          </p:cNvPr>
          <p:cNvSpPr txBox="1"/>
          <p:nvPr/>
        </p:nvSpPr>
        <p:spPr>
          <a:xfrm>
            <a:off x="1765302" y="1916569"/>
            <a:ext cx="9644820" cy="434574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Many students miss out on exciting events and opportunities happening around them because of the scattered and inconsistent way event information is shared on social media and other platforms. 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Also, small businesses struggle to effectively market their products and services, hindering their growth and sustainability. 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A centralized platform is required that not only links students to various events but also provides a cost-effective and efficient marketing channel for small business owners to reach their target audience and foster economic growth.</a:t>
            </a:r>
            <a:endParaRPr lang="de-DE" altLang="de-DE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2E0606A-BD57-43DB-957E-84A00723B4D6}"/>
              </a:ext>
            </a:extLst>
          </p:cNvPr>
          <p:cNvSpPr/>
          <p:nvPr/>
        </p:nvSpPr>
        <p:spPr>
          <a:xfrm>
            <a:off x="563789" y="917517"/>
            <a:ext cx="901757" cy="901757"/>
          </a:xfrm>
          <a:prstGeom prst="ellipse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3074DAD-AF35-4290-BE97-98097F56DC1F}"/>
              </a:ext>
            </a:extLst>
          </p:cNvPr>
          <p:cNvSpPr/>
          <p:nvPr/>
        </p:nvSpPr>
        <p:spPr>
          <a:xfrm>
            <a:off x="707764" y="1158530"/>
            <a:ext cx="757254" cy="660745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gradFill>
            <a:gsLst>
              <a:gs pos="40000">
                <a:srgbClr val="A11B48"/>
              </a:gs>
              <a:gs pos="100000">
                <a:srgbClr val="CB225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7F663B-FF50-A177-3FB1-88785D243773}"/>
              </a:ext>
            </a:extLst>
          </p:cNvPr>
          <p:cNvSpPr txBox="1"/>
          <p:nvPr/>
        </p:nvSpPr>
        <p:spPr>
          <a:xfrm>
            <a:off x="12629322" y="1183144"/>
            <a:ext cx="419166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800" b="0" i="0" u="none" strike="noStrike" kern="1200" cap="none" spc="300" normalizeH="0" baseline="0" noProof="0" dirty="0">
                <a:ln>
                  <a:noFill/>
                </a:ln>
                <a:solidFill>
                  <a:srgbClr val="1A1D24">
                    <a:lumMod val="90000"/>
                    <a:lumOff val="10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MISSION STATE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7413DCD-92FE-F8DC-910C-E5DA3917F3B0}"/>
              </a:ext>
            </a:extLst>
          </p:cNvPr>
          <p:cNvSpPr txBox="1"/>
          <p:nvPr/>
        </p:nvSpPr>
        <p:spPr>
          <a:xfrm>
            <a:off x="12629322" y="1916569"/>
            <a:ext cx="4992329" cy="157575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5F6FA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"Empowering Small Businesses, Building Awareness, and Strengthening Communities through Exceptional Events."</a:t>
            </a:r>
          </a:p>
        </p:txBody>
      </p:sp>
      <p:pic>
        <p:nvPicPr>
          <p:cNvPr id="6" name="Picture 5" descr="A logo with a horn and text&#10;&#10;Description automatically generated with medium confidence">
            <a:extLst>
              <a:ext uri="{FF2B5EF4-FFF2-40B4-BE49-F238E27FC236}">
                <a16:creationId xmlns:a16="http://schemas.microsoft.com/office/drawing/2014/main" id="{84A32F32-DA8F-568A-1C2B-FD4B8B960A5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59" y="1062701"/>
            <a:ext cx="1036440" cy="58358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10990816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87375" y="1183144"/>
            <a:ext cx="4322786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800" b="0" i="0" u="none" strike="noStrike" kern="1200" cap="none" spc="300" normalizeH="0" baseline="0" noProof="0" dirty="0">
                <a:ln>
                  <a:noFill/>
                </a:ln>
                <a:solidFill>
                  <a:srgbClr val="1A1D24">
                    <a:lumMod val="90000"/>
                    <a:lumOff val="10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PROBLEM STATEMENT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878541" y="814358"/>
            <a:ext cx="455584" cy="455584"/>
          </a:xfrm>
          <a:prstGeom prst="ellipse">
            <a:avLst/>
          </a:prstGeom>
          <a:solidFill>
            <a:srgbClr val="056757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D56B1B-7E08-4C01-B48A-B8D3DE028C84}"/>
              </a:ext>
            </a:extLst>
          </p:cNvPr>
          <p:cNvSpPr txBox="1"/>
          <p:nvPr/>
        </p:nvSpPr>
        <p:spPr>
          <a:xfrm>
            <a:off x="6581608" y="1183144"/>
            <a:ext cx="419166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800" b="0" i="0" u="none" strike="noStrike" kern="1200" cap="none" spc="300" normalizeH="0" baseline="0" noProof="0" dirty="0">
                <a:ln>
                  <a:noFill/>
                </a:ln>
                <a:solidFill>
                  <a:srgbClr val="079B8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MISSION STATEMEN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A2A0F6-5FFE-4D0B-B57E-ECA81C5E7276}"/>
              </a:ext>
            </a:extLst>
          </p:cNvPr>
          <p:cNvSpPr txBox="1"/>
          <p:nvPr/>
        </p:nvSpPr>
        <p:spPr>
          <a:xfrm>
            <a:off x="587376" y="1916569"/>
            <a:ext cx="4330698" cy="437446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1A1D24">
                    <a:lumMod val="90000"/>
                    <a:lumOff val="10000"/>
                  </a:srgbClr>
                </a:solidFill>
                <a:latin typeface="Segoe UI Semibold"/>
              </a:rPr>
              <a:t>Many students miss out on exciting events and opportunities happening around them because of the scattered and inconsistent way event information is shared on social media and other platforms. 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1A1D24">
                    <a:lumMod val="90000"/>
                    <a:lumOff val="10000"/>
                  </a:srgbClr>
                </a:solidFill>
                <a:latin typeface="Segoe UI Semibold"/>
              </a:rPr>
              <a:t>Also, small businesses struggle to effectively market their products and services, hindering their growth and sustainability. 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1A1D24">
                    <a:lumMod val="90000"/>
                    <a:lumOff val="10000"/>
                  </a:srgbClr>
                </a:solidFill>
                <a:latin typeface="Segoe UI Semibold"/>
              </a:rPr>
              <a:t>A centralized platform is required that not only links students to various events but also provides a cost-effective and efficient marketing channel for small business owners to reach their target audience and foster economic growth.</a:t>
            </a:r>
            <a:endParaRPr lang="de-DE" altLang="de-DE" sz="1200" dirty="0">
              <a:solidFill>
                <a:srgbClr val="1A1D24">
                  <a:lumMod val="90000"/>
                  <a:lumOff val="10000"/>
                </a:srgbClr>
              </a:solidFill>
              <a:latin typeface="Segoe UI Semibold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ECE2D3-5512-44EA-9616-221F509AEF91}"/>
              </a:ext>
            </a:extLst>
          </p:cNvPr>
          <p:cNvSpPr txBox="1"/>
          <p:nvPr/>
        </p:nvSpPr>
        <p:spPr>
          <a:xfrm>
            <a:off x="6581608" y="1916569"/>
            <a:ext cx="4992329" cy="157575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5F6FA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"Empowering Small Businesses, Building Awareness, and Strengthening Communities through Exceptional Events."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2E0606A-BD57-43DB-957E-84A00723B4D6}"/>
              </a:ext>
            </a:extLst>
          </p:cNvPr>
          <p:cNvSpPr/>
          <p:nvPr/>
        </p:nvSpPr>
        <p:spPr>
          <a:xfrm>
            <a:off x="5269139" y="917517"/>
            <a:ext cx="901757" cy="901757"/>
          </a:xfrm>
          <a:prstGeom prst="ellipse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3074DAD-AF35-4290-BE97-98097F56DC1F}"/>
              </a:ext>
            </a:extLst>
          </p:cNvPr>
          <p:cNvSpPr/>
          <p:nvPr/>
        </p:nvSpPr>
        <p:spPr>
          <a:xfrm>
            <a:off x="5413114" y="1158530"/>
            <a:ext cx="757254" cy="660745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gradFill>
            <a:gsLst>
              <a:gs pos="40000">
                <a:srgbClr val="056757"/>
              </a:gs>
              <a:gs pos="100000">
                <a:srgbClr val="079B8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494713D-E3B8-9DC8-BD8C-4CA1B8ECA926}"/>
              </a:ext>
            </a:extLst>
          </p:cNvPr>
          <p:cNvSpPr txBox="1"/>
          <p:nvPr/>
        </p:nvSpPr>
        <p:spPr>
          <a:xfrm>
            <a:off x="-4568455" y="1183144"/>
            <a:ext cx="3856633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800" b="0" i="0" u="none" strike="noStrike" kern="1200" cap="none" spc="300" normalizeH="0" baseline="0" noProof="0" dirty="0">
                <a:ln>
                  <a:noFill/>
                </a:ln>
                <a:solidFill>
                  <a:srgbClr val="1A1D24">
                    <a:lumMod val="90000"/>
                    <a:lumOff val="10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VISION STATE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A8110DF-8EB5-7FFE-2A83-2E0371CE97E6}"/>
              </a:ext>
            </a:extLst>
          </p:cNvPr>
          <p:cNvSpPr txBox="1"/>
          <p:nvPr/>
        </p:nvSpPr>
        <p:spPr>
          <a:xfrm>
            <a:off x="-4568454" y="1916569"/>
            <a:ext cx="4330698" cy="379174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5F6FA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In our vision, we aspire to create a future where every student can seamlessly explore, engage with, and partake in various cultural events while empowering small business owners to flourish through active involvement in these enriching experiences.</a:t>
            </a:r>
          </a:p>
        </p:txBody>
      </p:sp>
      <p:pic>
        <p:nvPicPr>
          <p:cNvPr id="6" name="Picture 5" descr="A logo with a horn and text&#10;&#10;Description automatically generated with medium confidence">
            <a:extLst>
              <a:ext uri="{FF2B5EF4-FFF2-40B4-BE49-F238E27FC236}">
                <a16:creationId xmlns:a16="http://schemas.microsoft.com/office/drawing/2014/main" id="{A0602D5B-C1EC-ADDD-C8C6-92299773E3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1797" y="1042150"/>
            <a:ext cx="1036440" cy="58358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051956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1765302" y="1183144"/>
            <a:ext cx="3856633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800" b="0" i="0" u="none" strike="noStrike" kern="1200" cap="none" spc="300" normalizeH="0" baseline="0" noProof="0" dirty="0">
                <a:ln>
                  <a:noFill/>
                </a:ln>
                <a:solidFill>
                  <a:srgbClr val="00A8FF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VISION STATE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D56B1B-7E08-4C01-B48A-B8D3DE028C84}"/>
              </a:ext>
            </a:extLst>
          </p:cNvPr>
          <p:cNvSpPr txBox="1"/>
          <p:nvPr/>
        </p:nvSpPr>
        <p:spPr>
          <a:xfrm>
            <a:off x="6581608" y="1183144"/>
            <a:ext cx="419166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800" b="0" i="0" u="none" strike="noStrike" kern="1200" cap="none" spc="300" normalizeH="0" baseline="0" noProof="0" dirty="0">
                <a:ln>
                  <a:noFill/>
                </a:ln>
                <a:solidFill>
                  <a:srgbClr val="1A1D24">
                    <a:lumMod val="90000"/>
                    <a:lumOff val="10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MISSION STATEMEN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A2A0F6-5FFE-4D0B-B57E-ECA81C5E7276}"/>
              </a:ext>
            </a:extLst>
          </p:cNvPr>
          <p:cNvSpPr txBox="1"/>
          <p:nvPr/>
        </p:nvSpPr>
        <p:spPr>
          <a:xfrm>
            <a:off x="1765303" y="1916569"/>
            <a:ext cx="4330698" cy="379174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5F6FA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In our vision, we aspire to create a future where every student can seamlessly explore, engage with, and partake in various cultural events while empowering small business owners to flourish through active involvement in these enriching experiences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ECE2D3-5512-44EA-9616-221F509AEF91}"/>
              </a:ext>
            </a:extLst>
          </p:cNvPr>
          <p:cNvSpPr txBox="1"/>
          <p:nvPr/>
        </p:nvSpPr>
        <p:spPr>
          <a:xfrm>
            <a:off x="6581608" y="1916569"/>
            <a:ext cx="4992329" cy="157575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D24">
                    <a:lumMod val="90000"/>
                    <a:lumOff val="10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"Empowering Small Businesses, Building Awareness, and Strengthening Communities through Exceptional Events."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2E0606A-BD57-43DB-957E-84A00723B4D6}"/>
              </a:ext>
            </a:extLst>
          </p:cNvPr>
          <p:cNvSpPr/>
          <p:nvPr/>
        </p:nvSpPr>
        <p:spPr>
          <a:xfrm>
            <a:off x="563789" y="917517"/>
            <a:ext cx="901757" cy="901757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00A8FF">
                  <a:lumMod val="60000"/>
                  <a:lumOff val="40000"/>
                </a:srgb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3074DAD-AF35-4290-BE97-98097F56DC1F}"/>
              </a:ext>
            </a:extLst>
          </p:cNvPr>
          <p:cNvSpPr/>
          <p:nvPr/>
        </p:nvSpPr>
        <p:spPr>
          <a:xfrm>
            <a:off x="707764" y="1158530"/>
            <a:ext cx="757254" cy="660745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00A8FF">
                  <a:lumMod val="60000"/>
                  <a:lumOff val="40000"/>
                </a:srgb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1173191" y="814358"/>
            <a:ext cx="455584" cy="45558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pic>
        <p:nvPicPr>
          <p:cNvPr id="2" name="Picture 1" descr="A logo with a horn and text&#10;&#10;Description automatically generated with medium confidence">
            <a:extLst>
              <a:ext uri="{FF2B5EF4-FFF2-40B4-BE49-F238E27FC236}">
                <a16:creationId xmlns:a16="http://schemas.microsoft.com/office/drawing/2014/main" id="{7DE4648E-CD15-DD14-1AAA-361CB7CAD65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59" y="1062701"/>
            <a:ext cx="1036440" cy="58358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024448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463DC58-D4E5-068E-88EA-356FFA76C8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463DC58-D4E5-068E-88EA-356FFA76C8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3577D7D-08F5-3CC7-FECA-5338E96EECEC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5BA389-C1EB-039A-A167-5C87C89561A1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7DB9518-6243-E4B3-934F-78A356695D7C}"/>
              </a:ext>
            </a:extLst>
          </p:cNvPr>
          <p:cNvSpPr txBox="1"/>
          <p:nvPr/>
        </p:nvSpPr>
        <p:spPr>
          <a:xfrm>
            <a:off x="5905429" y="3152001"/>
            <a:ext cx="542070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sz="3600" dirty="0">
                <a:solidFill>
                  <a:srgbClr val="F5F6FA"/>
                </a:solidFill>
                <a:latin typeface="Segoe UI Black"/>
              </a:rPr>
              <a:t>OUR SOLUTION</a:t>
            </a:r>
            <a:endParaRPr kumimoji="0" lang="de-DE" altLang="de-DE" sz="3600" b="0" i="0" u="none" strike="noStrike" kern="1200" cap="none" spc="0" normalizeH="0" baseline="0" noProof="0" dirty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Black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C1A78BD-40CA-1A03-3C3D-111B4C068940}"/>
              </a:ext>
            </a:extLst>
          </p:cNvPr>
          <p:cNvSpPr txBox="1">
            <a:spLocks/>
          </p:cNvSpPr>
          <p:nvPr/>
        </p:nvSpPr>
        <p:spPr>
          <a:xfrm>
            <a:off x="1274605" y="2176780"/>
            <a:ext cx="4024052" cy="2504440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8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25000" b="0" i="0" u="none" strike="noStrike" kern="0" cap="none" spc="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Black"/>
                <a:ea typeface="+mn-ea"/>
                <a:cs typeface="+mn-cs"/>
              </a:rPr>
              <a:t>0</a:t>
            </a:r>
            <a:r>
              <a:rPr lang="en-US" sz="25000" noProof="0" dirty="0">
                <a:solidFill>
                  <a:srgbClr val="F5F6FA"/>
                </a:solidFill>
                <a:latin typeface="Segoe UI Black"/>
              </a:rPr>
              <a:t>3</a:t>
            </a:r>
            <a:endParaRPr kumimoji="0" lang="en-US" sz="25000" b="0" i="0" u="none" strike="noStrike" kern="0" cap="none" spc="0" normalizeH="0" baseline="0" noProof="0" dirty="0">
              <a:ln>
                <a:noFill/>
              </a:ln>
              <a:solidFill>
                <a:srgbClr val="00A8FF"/>
              </a:solidFill>
              <a:effectLst/>
              <a:uLnTx/>
              <a:uFillTx/>
              <a:latin typeface="Segoe UI Black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E4992A0-7DD4-CBB9-4382-8854680410C1}"/>
              </a:ext>
            </a:extLst>
          </p:cNvPr>
          <p:cNvSpPr txBox="1"/>
          <p:nvPr/>
        </p:nvSpPr>
        <p:spPr>
          <a:xfrm>
            <a:off x="863601" y="8491597"/>
            <a:ext cx="10769599" cy="157575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indent="0" algn="ctr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kern="1200" spc="0" baseline="0" dirty="0">
                <a:ln>
                  <a:noFill/>
                </a:ln>
                <a:solidFill>
                  <a:srgbClr val="F7F8FB"/>
                </a:solidFill>
                <a:effectLst/>
                <a:latin typeface="Segoe UI Semibold" panose="020B0702040204020203" pitchFamily="34" charset="0"/>
                <a:ea typeface="+mn-ea"/>
                <a:cs typeface="+mn-cs"/>
              </a:rPr>
              <a:t>At </a:t>
            </a:r>
            <a:r>
              <a:rPr lang="en-US" sz="1800" b="0" i="0" kern="1200" spc="0" baseline="0" dirty="0" err="1">
                <a:ln>
                  <a:noFill/>
                </a:ln>
                <a:solidFill>
                  <a:srgbClr val="F7F8FB"/>
                </a:solidFill>
                <a:effectLst/>
                <a:latin typeface="Segoe UI Semibold" panose="020B0702040204020203" pitchFamily="34" charset="0"/>
                <a:ea typeface="+mn-ea"/>
                <a:cs typeface="+mn-cs"/>
              </a:rPr>
              <a:t>Evenmore</a:t>
            </a:r>
            <a:r>
              <a:rPr lang="en-US" sz="1800" b="0" i="0" kern="1200" spc="0" baseline="0" dirty="0">
                <a:ln>
                  <a:noFill/>
                </a:ln>
                <a:solidFill>
                  <a:srgbClr val="F7F8FB"/>
                </a:solidFill>
                <a:effectLst/>
                <a:latin typeface="Segoe UI Semibold" panose="020B0702040204020203" pitchFamily="34" charset="0"/>
                <a:ea typeface="+mn-ea"/>
                <a:cs typeface="+mn-cs"/>
              </a:rPr>
              <a:t>, we are dedicated to empowering students to easily discover events and exclusive promotions while helping small businesses thrive and connect with their community through our all-in-one platform.</a:t>
            </a:r>
            <a:endParaRPr lang="en-US" dirty="0">
              <a:effectLst/>
            </a:endParaRPr>
          </a:p>
        </p:txBody>
      </p:sp>
      <p:pic>
        <p:nvPicPr>
          <p:cNvPr id="27" name="Picture 26" descr="A logo with a horn and text&#10;&#10;Description automatically generated with medium confidence">
            <a:extLst>
              <a:ext uri="{FF2B5EF4-FFF2-40B4-BE49-F238E27FC236}">
                <a16:creationId xmlns:a16="http://schemas.microsoft.com/office/drawing/2014/main" id="{DB6328FD-D296-8299-CFF9-26DDE975E1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5048" y="-1141117"/>
            <a:ext cx="1036440" cy="583582"/>
          </a:xfrm>
          <a:prstGeom prst="rect">
            <a:avLst/>
          </a:prstGeom>
        </p:spPr>
      </p:pic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28" name="Content Placeholder 5">
                <a:extLst>
                  <a:ext uri="{FF2B5EF4-FFF2-40B4-BE49-F238E27FC236}">
                    <a16:creationId xmlns:a16="http://schemas.microsoft.com/office/drawing/2014/main" id="{DCB9B37C-9FD3-0578-C652-44A38F4FE75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048170738"/>
                  </p:ext>
                </p:extLst>
              </p:nvPr>
            </p:nvGraphicFramePr>
            <p:xfrm rot="1824729">
              <a:off x="-3450843" y="-4360054"/>
              <a:ext cx="2590310" cy="7003205"/>
            </p:xfrm>
            <a:graphic>
              <a:graphicData uri="http://schemas.microsoft.com/office/drawing/2017/model3d">
                <am3d:model3d r:embed="rId6">
                  <am3d:spPr>
                    <a:xfrm rot="1824729">
                      <a:off x="0" y="0"/>
                      <a:ext cx="2590310" cy="7003205"/>
                    </a:xfrm>
                    <a:prstGeom prst="rect">
                      <a:avLst/>
                    </a:prstGeom>
                  </am3d:spPr>
                  <am3d:camera>
                    <am3d:pos x="0" y="0" z="5245764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4750433" d="1000000"/>
                    <am3d:preTrans dx="959" dy="42144" dz="450431"/>
                    <am3d:scale>
                      <am3d:sx n="1000000" d="1000000"/>
                      <am3d:sy n="1000000" d="1000000"/>
                      <am3d:sz n="1000000" d="1000000"/>
                    </am3d:scale>
                    <am3d:rot ax="8312774" ay="3193735" az="8683135"/>
                    <am3d:postTrans dx="0" dy="0" dz="0"/>
                  </am3d:trans>
                  <am3d:raster rName="Office3DRenderer" rVer="16.0.8326">
                    <am3d:blip r:embed="rId7"/>
                  </am3d:raster>
                  <am3d:objViewport viewportSz="7751879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28" name="Content Placeholder 5">
                <a:extLst>
                  <a:ext uri="{FF2B5EF4-FFF2-40B4-BE49-F238E27FC236}">
                    <a16:creationId xmlns:a16="http://schemas.microsoft.com/office/drawing/2014/main" id="{DCB9B37C-9FD3-0578-C652-44A38F4FE75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 rot="1824729">
                <a:off x="-3450843" y="-4360054"/>
                <a:ext cx="2590310" cy="7003205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29" name="Content Placeholder 5">
                <a:extLst>
                  <a:ext uri="{FF2B5EF4-FFF2-40B4-BE49-F238E27FC236}">
                    <a16:creationId xmlns:a16="http://schemas.microsoft.com/office/drawing/2014/main" id="{A7743A61-EEB4-6F07-9E2F-59C14691CCA1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3138341332"/>
                  </p:ext>
                </p:extLst>
              </p:nvPr>
            </p:nvGraphicFramePr>
            <p:xfrm rot="2035367">
              <a:off x="12721741" y="1938681"/>
              <a:ext cx="3585221" cy="9150008"/>
            </p:xfrm>
            <a:graphic>
              <a:graphicData uri="http://schemas.microsoft.com/office/drawing/2017/model3d">
                <am3d:model3d r:embed="rId6">
                  <am3d:spPr>
                    <a:xfrm rot="2035367">
                      <a:off x="0" y="0"/>
                      <a:ext cx="3585221" cy="9150008"/>
                    </a:xfrm>
                    <a:prstGeom prst="rect">
                      <a:avLst/>
                    </a:prstGeom>
                  </am3d:spPr>
                  <am3d:camera>
                    <am3d:pos x="0" y="0" z="52457643"/>
                    <am3d:up dx="0" dy="36000000" dz="0"/>
                    <am3d:lookAt x="0" y="0" z="0"/>
                    <am3d:perspective fov="2707813"/>
                  </am3d:camera>
                  <am3d:trans>
                    <am3d:meterPerModelUnit n="4750433" d="1000000"/>
                    <am3d:preTrans dx="959" dy="42144" dz="450431"/>
                    <am3d:scale>
                      <am3d:sx n="1000000" d="1000000"/>
                      <am3d:sy n="1000000" d="1000000"/>
                      <am3d:sz n="1000000" d="1000000"/>
                    </am3d:scale>
                    <am3d:rot ax="7993661" ay="-3075777" az="-8418777"/>
                    <am3d:postTrans dx="0" dy="0" dz="0"/>
                  </am3d:trans>
                  <am3d:raster rName="Office3DRenderer" rVer="16.0.8326">
                    <am3d:blip r:embed="rId8"/>
                  </am3d:raster>
                  <am3d:winViewport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29" name="Content Placeholder 5">
                <a:extLst>
                  <a:ext uri="{FF2B5EF4-FFF2-40B4-BE49-F238E27FC236}">
                    <a16:creationId xmlns:a16="http://schemas.microsoft.com/office/drawing/2014/main" id="{A7743A61-EEB4-6F07-9E2F-59C14691CCA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 rot="2035367">
                <a:off x="12721741" y="1938681"/>
                <a:ext cx="3585221" cy="9150008"/>
              </a:xfrm>
              <a:prstGeom prst="rect">
                <a:avLst/>
              </a:prstGeom>
            </p:spPr>
          </p:pic>
        </mc:Fallback>
      </mc:AlternateContent>
      <p:sp>
        <p:nvSpPr>
          <p:cNvPr id="30" name="TextBox 29">
            <a:extLst>
              <a:ext uri="{FF2B5EF4-FFF2-40B4-BE49-F238E27FC236}">
                <a16:creationId xmlns:a16="http://schemas.microsoft.com/office/drawing/2014/main" id="{E06EFFB8-7B05-3582-F6C3-C52D8A201EFC}"/>
              </a:ext>
            </a:extLst>
          </p:cNvPr>
          <p:cNvSpPr txBox="1"/>
          <p:nvPr/>
        </p:nvSpPr>
        <p:spPr>
          <a:xfrm>
            <a:off x="5262438" y="8359474"/>
            <a:ext cx="1667123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 dirty="0">
                <a:cs typeface="Segoe UI Semibold"/>
              </a:rPr>
              <a:t>Centralized Platform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C94FDA3-F79B-4AD4-E5DE-621F1272B164}"/>
              </a:ext>
            </a:extLst>
          </p:cNvPr>
          <p:cNvSpPr txBox="1"/>
          <p:nvPr/>
        </p:nvSpPr>
        <p:spPr>
          <a:xfrm>
            <a:off x="-1848162" y="3044279"/>
            <a:ext cx="1272784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 dirty="0">
                <a:cs typeface="Segoe UI Semibold"/>
              </a:rPr>
              <a:t>Discover Events</a:t>
            </a:r>
            <a:endParaRPr lang="en-US" sz="1400" kern="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3A742B8-7ECE-2F5B-2C03-D6DA1453C217}"/>
              </a:ext>
            </a:extLst>
          </p:cNvPr>
          <p:cNvSpPr txBox="1"/>
          <p:nvPr/>
        </p:nvSpPr>
        <p:spPr>
          <a:xfrm>
            <a:off x="2650282" y="-957048"/>
            <a:ext cx="128560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 dirty="0">
                <a:cs typeface="Segoe UI Semibold"/>
              </a:rPr>
              <a:t>Budget Friendly</a:t>
            </a:r>
            <a:endParaRPr lang="en-US" sz="1400" kern="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D341597-434E-D1CB-285D-6308567ABE72}"/>
              </a:ext>
            </a:extLst>
          </p:cNvPr>
          <p:cNvSpPr txBox="1"/>
          <p:nvPr/>
        </p:nvSpPr>
        <p:spPr>
          <a:xfrm>
            <a:off x="2807376" y="7094951"/>
            <a:ext cx="1128514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 dirty="0">
                <a:cs typeface="Segoe UI Semibold"/>
              </a:rPr>
              <a:t>Get Discounts</a:t>
            </a:r>
            <a:endParaRPr lang="en-US" sz="1400" kern="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926A7B8-8F21-DA96-7EBD-3D10277A7F2E}"/>
              </a:ext>
            </a:extLst>
          </p:cNvPr>
          <p:cNvSpPr txBox="1"/>
          <p:nvPr/>
        </p:nvSpPr>
        <p:spPr>
          <a:xfrm>
            <a:off x="7571423" y="-1064770"/>
            <a:ext cx="2088713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 dirty="0">
                <a:cs typeface="Segoe UI Semibold"/>
              </a:rPr>
              <a:t>Raise Awareness of Brand</a:t>
            </a:r>
            <a:endParaRPr lang="en-US" sz="1400" kern="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EED11D1-1D87-9844-BF66-5F7E19D04239}"/>
              </a:ext>
            </a:extLst>
          </p:cNvPr>
          <p:cNvSpPr txBox="1"/>
          <p:nvPr/>
        </p:nvSpPr>
        <p:spPr>
          <a:xfrm>
            <a:off x="12587719" y="2758831"/>
            <a:ext cx="1673535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 dirty="0">
                <a:cs typeface="Segoe UI Semibold"/>
              </a:rPr>
              <a:t>Build Customer Base</a:t>
            </a:r>
            <a:endParaRPr lang="en-US" sz="1400" kern="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0B7803-EBB0-E9B3-D469-92CCF0C12808}"/>
              </a:ext>
            </a:extLst>
          </p:cNvPr>
          <p:cNvSpPr txBox="1"/>
          <p:nvPr/>
        </p:nvSpPr>
        <p:spPr>
          <a:xfrm>
            <a:off x="7584247" y="7175276"/>
            <a:ext cx="2075889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 dirty="0">
                <a:cs typeface="Segoe UI Semibold"/>
              </a:rPr>
              <a:t>Empower the Community</a:t>
            </a:r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27084777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6" name="Content Placeholder 5">
                <a:extLst>
                  <a:ext uri="{FF2B5EF4-FFF2-40B4-BE49-F238E27FC236}">
                    <a16:creationId xmlns:a16="http://schemas.microsoft.com/office/drawing/2014/main" id="{069C361D-7CC9-3CE8-4DEB-087949CFF4FD}"/>
                  </a:ext>
                </a:extLst>
              </p:cNvPr>
              <p:cNvGraphicFramePr>
                <a:graphicFrameLocks noGrp="1" noChangeAspect="1"/>
              </p:cNvGraphicFramePr>
              <p:nvPr>
                <p:ph idx="11"/>
                <p:extLst>
                  <p:ext uri="{D42A27DB-BD31-4B8C-83A1-F6EECF244321}">
                    <p14:modId xmlns:p14="http://schemas.microsoft.com/office/powerpoint/2010/main" val="1076646156"/>
                  </p:ext>
                </p:extLst>
              </p:nvPr>
            </p:nvGraphicFramePr>
            <p:xfrm rot="1824729">
              <a:off x="-396606" y="4033314"/>
              <a:ext cx="2052834" cy="4386722"/>
            </p:xfrm>
            <a:graphic>
              <a:graphicData uri="http://schemas.microsoft.com/office/drawing/2017/model3d">
                <am3d:model3d r:embed="rId3">
                  <am3d:spPr>
                    <a:xfrm rot="1824729">
                      <a:off x="0" y="0"/>
                      <a:ext cx="2052834" cy="4386722"/>
                    </a:xfrm>
                    <a:prstGeom prst="rect">
                      <a:avLst/>
                    </a:prstGeom>
                  </am3d:spPr>
                  <am3d:camera>
                    <am3d:pos x="0" y="0" z="5245764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4750433" d="1000000"/>
                    <am3d:preTrans dx="959" dy="42144" dz="450431"/>
                    <am3d:scale>
                      <am3d:sx n="1000000" d="1000000"/>
                      <am3d:sy n="1000000" d="1000000"/>
                      <am3d:sz n="1000000" d="1000000"/>
                    </am3d:scale>
                    <am3d:rot ax="247915" ay="699547" az="50181"/>
                    <am3d:postTrans dx="0" dy="0" dz="0"/>
                  </am3d:trans>
                  <am3d:raster rName="Office3DRenderer" rVer="16.0.8326">
                    <am3d:blip r:embed="rId4"/>
                  </am3d:raster>
                  <am3d:objViewport viewportSz="4929147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6" name="Content Placeholder 5">
                <a:extLst>
                  <a:ext uri="{FF2B5EF4-FFF2-40B4-BE49-F238E27FC236}">
                    <a16:creationId xmlns:a16="http://schemas.microsoft.com/office/drawing/2014/main" id="{069C361D-7CC9-3CE8-4DEB-087949CFF4F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824729">
                <a:off x="-396606" y="4033314"/>
                <a:ext cx="2052834" cy="438672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7" name="Content Placeholder 5">
                <a:extLst>
                  <a:ext uri="{FF2B5EF4-FFF2-40B4-BE49-F238E27FC236}">
                    <a16:creationId xmlns:a16="http://schemas.microsoft.com/office/drawing/2014/main" id="{DF174559-F67C-FA3C-48E6-6664502545D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240168376"/>
                  </p:ext>
                </p:extLst>
              </p:nvPr>
            </p:nvGraphicFramePr>
            <p:xfrm rot="1824729">
              <a:off x="10630507" y="-642566"/>
              <a:ext cx="1964746" cy="4548527"/>
            </p:xfrm>
            <a:graphic>
              <a:graphicData uri="http://schemas.microsoft.com/office/drawing/2017/model3d">
                <am3d:model3d r:embed="rId3">
                  <am3d:spPr>
                    <a:xfrm rot="1824729">
                      <a:off x="0" y="0"/>
                      <a:ext cx="1964746" cy="4548527"/>
                    </a:xfrm>
                    <a:prstGeom prst="rect">
                      <a:avLst/>
                    </a:prstGeom>
                  </am3d:spPr>
                  <am3d:camera>
                    <am3d:pos x="0" y="0" z="5245764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4750433" d="1000000"/>
                    <am3d:preTrans dx="959" dy="42144" dz="450431"/>
                    <am3d:scale>
                      <am3d:sx n="1000000" d="1000000"/>
                      <am3d:sy n="1000000" d="1000000"/>
                      <am3d:sz n="1000000" d="1000000"/>
                    </am3d:scale>
                    <am3d:rot ax="-452540" ay="-1882801" az="236631"/>
                    <am3d:postTrans dx="0" dy="0" dz="0"/>
                  </am3d:trans>
                  <am3d:raster rName="Office3DRenderer" rVer="16.0.8326">
                    <am3d:blip r:embed="rId5"/>
                  </am3d:raster>
                  <am3d:objViewport viewportSz="4929157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7" name="Content Placeholder 5">
                <a:extLst>
                  <a:ext uri="{FF2B5EF4-FFF2-40B4-BE49-F238E27FC236}">
                    <a16:creationId xmlns:a16="http://schemas.microsoft.com/office/drawing/2014/main" id="{DF174559-F67C-FA3C-48E6-6664502545D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1824729">
                <a:off x="10630507" y="-642566"/>
                <a:ext cx="1964746" cy="4548527"/>
              </a:xfrm>
              <a:prstGeom prst="rect">
                <a:avLst/>
              </a:prstGeom>
            </p:spPr>
          </p:pic>
        </mc:Fallback>
      </mc:AlternateContent>
      <p:pic>
        <p:nvPicPr>
          <p:cNvPr id="8" name="Picture 7" descr="A logo with a horn and text&#10;&#10;Description automatically generated with medium confidence">
            <a:extLst>
              <a:ext uri="{FF2B5EF4-FFF2-40B4-BE49-F238E27FC236}">
                <a16:creationId xmlns:a16="http://schemas.microsoft.com/office/drawing/2014/main" id="{F39FF460-A128-AE19-EAE8-A53A981264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4571" y="1643285"/>
            <a:ext cx="6342857" cy="357142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9096E9A-A5F6-9C71-7A66-1472D13DE119}"/>
              </a:ext>
            </a:extLst>
          </p:cNvPr>
          <p:cNvSpPr txBox="1"/>
          <p:nvPr/>
        </p:nvSpPr>
        <p:spPr>
          <a:xfrm>
            <a:off x="4542390" y="-1849041"/>
            <a:ext cx="5127814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800" b="0" i="0" u="none" strike="noStrike" kern="1200" cap="none" spc="30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POSITIONING STATEMENT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8318091-C58C-716B-FF19-E9BBD9F6DB04}"/>
              </a:ext>
            </a:extLst>
          </p:cNvPr>
          <p:cNvSpPr/>
          <p:nvPr/>
        </p:nvSpPr>
        <p:spPr>
          <a:xfrm>
            <a:off x="3340877" y="-2114668"/>
            <a:ext cx="901757" cy="90175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07D8D99-2917-BEDD-EE23-EA40B5AE3831}"/>
              </a:ext>
            </a:extLst>
          </p:cNvPr>
          <p:cNvSpPr/>
          <p:nvPr/>
        </p:nvSpPr>
        <p:spPr>
          <a:xfrm>
            <a:off x="3484852" y="-1873655"/>
            <a:ext cx="757254" cy="660745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00A8FF">
                  <a:lumMod val="60000"/>
                  <a:lumOff val="40000"/>
                </a:srgb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6189346-732F-8E9D-826B-2072B4130DDF}"/>
              </a:ext>
            </a:extLst>
          </p:cNvPr>
          <p:cNvSpPr/>
          <p:nvPr/>
        </p:nvSpPr>
        <p:spPr>
          <a:xfrm>
            <a:off x="3950279" y="-2217827"/>
            <a:ext cx="455584" cy="45558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0C81A63-EDD7-B6B5-FD85-8639134A18E1}"/>
              </a:ext>
            </a:extLst>
          </p:cNvPr>
          <p:cNvSpPr txBox="1"/>
          <p:nvPr/>
        </p:nvSpPr>
        <p:spPr>
          <a:xfrm>
            <a:off x="863601" y="8491597"/>
            <a:ext cx="10769599" cy="157575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indent="0" algn="ctr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kern="1200" spc="0" baseline="0">
                <a:ln>
                  <a:noFill/>
                </a:ln>
                <a:solidFill>
                  <a:srgbClr val="F7F8FB"/>
                </a:solidFill>
                <a:effectLst/>
                <a:latin typeface="Segoe UI Semibold" panose="020B0702040204020203" pitchFamily="34" charset="0"/>
                <a:ea typeface="+mn-ea"/>
                <a:cs typeface="+mn-cs"/>
              </a:rPr>
              <a:t>At </a:t>
            </a:r>
            <a:r>
              <a:rPr lang="en-US" sz="1800" b="0" i="0" kern="1200" spc="0" baseline="0" err="1">
                <a:ln>
                  <a:noFill/>
                </a:ln>
                <a:solidFill>
                  <a:srgbClr val="F7F8FB"/>
                </a:solidFill>
                <a:effectLst/>
                <a:latin typeface="Segoe UI Semibold" panose="020B0702040204020203" pitchFamily="34" charset="0"/>
                <a:ea typeface="+mn-ea"/>
                <a:cs typeface="+mn-cs"/>
              </a:rPr>
              <a:t>Evenmore</a:t>
            </a:r>
            <a:r>
              <a:rPr lang="en-US" sz="1800" b="0" i="0" kern="1200" spc="0" baseline="0">
                <a:ln>
                  <a:noFill/>
                </a:ln>
                <a:solidFill>
                  <a:srgbClr val="F7F8FB"/>
                </a:solidFill>
                <a:effectLst/>
                <a:latin typeface="Segoe UI Semibold" panose="020B0702040204020203" pitchFamily="34" charset="0"/>
                <a:ea typeface="+mn-ea"/>
                <a:cs typeface="+mn-cs"/>
              </a:rPr>
              <a:t>, we are dedicated to empowering students to easily discover events and exclusive promotions while helping small businesses thrive and connect with their community through our all-in-one platform.</a:t>
            </a:r>
            <a:endParaRPr lang="en-US">
              <a:effectLst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7D2931-E2AA-689B-096D-E12125CACAB4}"/>
              </a:ext>
            </a:extLst>
          </p:cNvPr>
          <p:cNvSpPr txBox="1"/>
          <p:nvPr/>
        </p:nvSpPr>
        <p:spPr>
          <a:xfrm>
            <a:off x="5262438" y="5579298"/>
            <a:ext cx="1667123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>
                <a:solidFill>
                  <a:schemeClr val="accent4">
                    <a:lumMod val="60000"/>
                    <a:lumOff val="40000"/>
                  </a:schemeClr>
                </a:solidFill>
                <a:cs typeface="Segoe UI Semibold"/>
              </a:rPr>
              <a:t>Centralized Platfor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7F96F6-A935-9F3D-534A-6BB912C64E7E}"/>
              </a:ext>
            </a:extLst>
          </p:cNvPr>
          <p:cNvSpPr txBox="1"/>
          <p:nvPr/>
        </p:nvSpPr>
        <p:spPr>
          <a:xfrm>
            <a:off x="2903711" y="3280679"/>
            <a:ext cx="1272784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>
                <a:solidFill>
                  <a:srgbClr val="00B0F0"/>
                </a:solidFill>
                <a:cs typeface="Segoe UI Semibold"/>
              </a:rPr>
              <a:t>Discover Even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69F027C-5A87-0466-C200-39FB11E6E7EA}"/>
              </a:ext>
            </a:extLst>
          </p:cNvPr>
          <p:cNvSpPr txBox="1"/>
          <p:nvPr/>
        </p:nvSpPr>
        <p:spPr>
          <a:xfrm>
            <a:off x="3484852" y="1935520"/>
            <a:ext cx="128560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>
                <a:solidFill>
                  <a:srgbClr val="92D050"/>
                </a:solidFill>
                <a:cs typeface="Segoe UI Semibold"/>
              </a:rPr>
              <a:t>Budget Friendl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F546421-5D49-2003-82AE-DC098985EB7C}"/>
              </a:ext>
            </a:extLst>
          </p:cNvPr>
          <p:cNvSpPr txBox="1"/>
          <p:nvPr/>
        </p:nvSpPr>
        <p:spPr>
          <a:xfrm>
            <a:off x="3677849" y="4625838"/>
            <a:ext cx="117820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>
                <a:solidFill>
                  <a:srgbClr val="FFFF00"/>
                </a:solidFill>
                <a:cs typeface="Segoe UI Semibold"/>
              </a:rPr>
              <a:t>Get Discounts 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547231E-DAE8-E669-D4DD-8D2E4042095C}"/>
              </a:ext>
            </a:extLst>
          </p:cNvPr>
          <p:cNvSpPr txBox="1"/>
          <p:nvPr/>
        </p:nvSpPr>
        <p:spPr>
          <a:xfrm>
            <a:off x="7421542" y="1935520"/>
            <a:ext cx="2088713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>
                <a:solidFill>
                  <a:srgbClr val="00B050"/>
                </a:solidFill>
                <a:cs typeface="Segoe UI Semibold"/>
              </a:rPr>
              <a:t>Raise Awareness of Bran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0F413BE-E739-38A6-8EE1-D276D4CF140C}"/>
              </a:ext>
            </a:extLst>
          </p:cNvPr>
          <p:cNvSpPr txBox="1"/>
          <p:nvPr/>
        </p:nvSpPr>
        <p:spPr>
          <a:xfrm>
            <a:off x="7996669" y="3280679"/>
            <a:ext cx="1673535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>
                <a:solidFill>
                  <a:srgbClr val="FFC000"/>
                </a:solidFill>
                <a:cs typeface="Segoe UI Semibold"/>
              </a:rPr>
              <a:t>Build Customer Bas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3B3DD1A-EE3F-505A-4A8A-C8D493A33DE4}"/>
              </a:ext>
            </a:extLst>
          </p:cNvPr>
          <p:cNvSpPr txBox="1"/>
          <p:nvPr/>
        </p:nvSpPr>
        <p:spPr>
          <a:xfrm>
            <a:off x="7335945" y="4625838"/>
            <a:ext cx="2075889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>
                <a:solidFill>
                  <a:srgbClr val="FF9FD8"/>
                </a:solidFill>
                <a:cs typeface="Segoe UI Semibold"/>
              </a:rPr>
              <a:t>Empower the Community</a:t>
            </a:r>
          </a:p>
        </p:txBody>
      </p:sp>
    </p:spTree>
    <p:extLst>
      <p:ext uri="{BB962C8B-B14F-4D97-AF65-F5344CB8AC3E}">
        <p14:creationId xmlns:p14="http://schemas.microsoft.com/office/powerpoint/2010/main" val="5585003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733E1C-109C-49C0-87D5-2F21369602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733E1C-109C-49C0-87D5-2F21369602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A4ACE5-10D3-415B-9571-45426C854F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Black" panose="020B0A02040204020203" pitchFamily="34" charset="0"/>
              <a:ea typeface="+mn-ea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836BFA-5538-4513-9B75-F06B323E2F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1600" y="3249680"/>
            <a:ext cx="4803775" cy="866648"/>
          </a:xfrm>
        </p:spPr>
        <p:txBody>
          <a:bodyPr vert="horz" numCol="1"/>
          <a:lstStyle/>
          <a:p>
            <a:r>
              <a:rPr lang="en-US" dirty="0"/>
              <a:t>PROJECT AT A GLANCE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6C75056-6086-4A85-BB1D-7757954AFB36}"/>
              </a:ext>
            </a:extLst>
          </p:cNvPr>
          <p:cNvSpPr/>
          <p:nvPr/>
        </p:nvSpPr>
        <p:spPr>
          <a:xfrm>
            <a:off x="9671515" y="116572"/>
            <a:ext cx="131078" cy="131078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23DFFA-1938-4738-B2F9-89F78B813D82}"/>
              </a:ext>
            </a:extLst>
          </p:cNvPr>
          <p:cNvSpPr/>
          <p:nvPr/>
        </p:nvSpPr>
        <p:spPr>
          <a:xfrm>
            <a:off x="10082132" y="116572"/>
            <a:ext cx="131078" cy="131078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73D9B9F-C669-40DE-854B-29A01F5F62B3}"/>
              </a:ext>
            </a:extLst>
          </p:cNvPr>
          <p:cNvSpPr/>
          <p:nvPr/>
        </p:nvSpPr>
        <p:spPr>
          <a:xfrm>
            <a:off x="10903366" y="116572"/>
            <a:ext cx="131078" cy="131078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1D995EA-F028-446E-9DCB-E00BF6EDA545}"/>
              </a:ext>
            </a:extLst>
          </p:cNvPr>
          <p:cNvSpPr/>
          <p:nvPr/>
        </p:nvSpPr>
        <p:spPr>
          <a:xfrm>
            <a:off x="11313983" y="116572"/>
            <a:ext cx="131078" cy="131078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E6F9ACA-9E4F-43DA-83B4-8BEE7B6EA12D}"/>
              </a:ext>
            </a:extLst>
          </p:cNvPr>
          <p:cNvSpPr/>
          <p:nvPr/>
        </p:nvSpPr>
        <p:spPr>
          <a:xfrm>
            <a:off x="11724598" y="116572"/>
            <a:ext cx="131078" cy="131078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1DD8646-D1B7-4D63-8E50-A6E449D95046}"/>
              </a:ext>
            </a:extLst>
          </p:cNvPr>
          <p:cNvSpPr/>
          <p:nvPr/>
        </p:nvSpPr>
        <p:spPr>
          <a:xfrm>
            <a:off x="10492749" y="116572"/>
            <a:ext cx="131078" cy="13107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44" name="Section Zoom 43">
                <a:extLst>
                  <a:ext uri="{FF2B5EF4-FFF2-40B4-BE49-F238E27FC236}">
                    <a16:creationId xmlns:a16="http://schemas.microsoft.com/office/drawing/2014/main" id="{95FA5FDB-FA06-54BF-BDEA-ADEDB4C5C53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503351701"/>
                  </p:ext>
                </p:extLst>
              </p:nvPr>
            </p:nvGraphicFramePr>
            <p:xfrm>
              <a:off x="863600" y="549896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C98D0157-5886-4B30-B125-E2F2A1875867}">
                    <psez:zmPr id="{97D3C1E4-1D11-4DBF-952B-5913397FB7C2}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44" name="Section Zoom 43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95FA5FDB-FA06-54BF-BDEA-ADEDB4C5C53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863600" y="549896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46" name="Section Zoom 45">
                <a:extLst>
                  <a:ext uri="{FF2B5EF4-FFF2-40B4-BE49-F238E27FC236}">
                    <a16:creationId xmlns:a16="http://schemas.microsoft.com/office/drawing/2014/main" id="{B1EA0F16-029D-81BE-1A9B-028FD1747B7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810364251"/>
                  </p:ext>
                </p:extLst>
              </p:nvPr>
            </p:nvGraphicFramePr>
            <p:xfrm>
              <a:off x="8558132" y="520573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738DB53E-F837-41E8-AEAA-AE5B93F5E57E}">
                    <psez:zmPr id="{D198CD21-88E7-4517-A4A4-524A2C53BA43}" transitionDur="1000">
                      <p166:blipFill xmlns:p166="http://schemas.microsoft.com/office/powerpoint/2016/6/main">
                        <a:blip r:embed="rId1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46" name="Section Zoom 45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B1EA0F16-029D-81BE-1A9B-028FD1747B7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8558132" y="520573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48" name="Section Zoom 47">
                <a:extLst>
                  <a:ext uri="{FF2B5EF4-FFF2-40B4-BE49-F238E27FC236}">
                    <a16:creationId xmlns:a16="http://schemas.microsoft.com/office/drawing/2014/main" id="{8F8772F9-4478-B4E0-7094-93DA22B4704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041695152"/>
                  </p:ext>
                </p:extLst>
              </p:nvPr>
            </p:nvGraphicFramePr>
            <p:xfrm>
              <a:off x="0" y="2654674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C06C532B-6712-4672-B8E8-0E9857D41E4C}">
                    <psez:zmPr id="{8FBD032C-502E-4988-A73C-D965F5A3DBE9}" transitionDur="1000">
                      <p166:blipFill xmlns:p166="http://schemas.microsoft.com/office/powerpoint/2016/6/main">
                        <a:blip r:embed="rId1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48" name="Section Zoom 47">
                <a:hlinkClick r:id="rId15" action="ppaction://hlinksldjump"/>
                <a:extLst>
                  <a:ext uri="{FF2B5EF4-FFF2-40B4-BE49-F238E27FC236}">
                    <a16:creationId xmlns:a16="http://schemas.microsoft.com/office/drawing/2014/main" id="{8F8772F9-4478-B4E0-7094-93DA22B4704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0" y="2654674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50" name="Section Zoom 49">
                <a:extLst>
                  <a:ext uri="{FF2B5EF4-FFF2-40B4-BE49-F238E27FC236}">
                    <a16:creationId xmlns:a16="http://schemas.microsoft.com/office/drawing/2014/main" id="{5E9219BE-E93D-4E31-BF18-0D1C403F2E2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913987458"/>
                  </p:ext>
                </p:extLst>
              </p:nvPr>
            </p:nvGraphicFramePr>
            <p:xfrm>
              <a:off x="9144000" y="2640012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E41AE270-8399-4C83-9A04-EC7A0E1B9B46}">
                    <psez:zmPr id="{BDFD743A-CAA4-4D2B-A6E7-6D5B4BCCF3D6}" transitionDur="1000">
                      <p166:blipFill xmlns:p166="http://schemas.microsoft.com/office/powerpoint/2016/6/main">
                        <a:blip r:embed="rId1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50" name="Section Zoom 49">
                <a:hlinkClick r:id="rId18" action="ppaction://hlinksldjump"/>
                <a:extLst>
                  <a:ext uri="{FF2B5EF4-FFF2-40B4-BE49-F238E27FC236}">
                    <a16:creationId xmlns:a16="http://schemas.microsoft.com/office/drawing/2014/main" id="{5E9219BE-E93D-4E31-BF18-0D1C403F2E2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9144000" y="2640012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52" name="Section Zoom 51">
                <a:extLst>
                  <a:ext uri="{FF2B5EF4-FFF2-40B4-BE49-F238E27FC236}">
                    <a16:creationId xmlns:a16="http://schemas.microsoft.com/office/drawing/2014/main" id="{2605CE7D-4BB6-20A5-90B1-2AFB21B07803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73072945"/>
                  </p:ext>
                </p:extLst>
              </p:nvPr>
            </p:nvGraphicFramePr>
            <p:xfrm>
              <a:off x="868680" y="4759452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531C448E-6F67-4DFB-A0F7-F2A0E416B6B9}">
                    <psez:zmPr id="{43C810F8-896B-4CBF-9799-F6BC622CA233}" transitionDur="1000">
                      <p166:blipFill xmlns:p166="http://schemas.microsoft.com/office/powerpoint/2016/6/main">
                        <a:blip r:embed="rId2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52" name="Section Zoom 51">
                <a:hlinkClick r:id="rId21" action="ppaction://hlinksldjump"/>
                <a:extLst>
                  <a:ext uri="{FF2B5EF4-FFF2-40B4-BE49-F238E27FC236}">
                    <a16:creationId xmlns:a16="http://schemas.microsoft.com/office/drawing/2014/main" id="{2605CE7D-4BB6-20A5-90B1-2AFB21B0780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868680" y="4759452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54" name="Section Zoom 53">
                <a:extLst>
                  <a:ext uri="{FF2B5EF4-FFF2-40B4-BE49-F238E27FC236}">
                    <a16:creationId xmlns:a16="http://schemas.microsoft.com/office/drawing/2014/main" id="{355ADF7D-08BC-E7C7-A399-C8CE899BA42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070167257"/>
                  </p:ext>
                </p:extLst>
              </p:nvPr>
            </p:nvGraphicFramePr>
            <p:xfrm>
              <a:off x="8585200" y="4759452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8ADF4705-B0F9-48AD-A958-BCD940FD7770}">
                    <psez:zmPr id="{F055BBCE-5718-4F1E-B43B-BAC4276421D9}" transitionDur="1000">
                      <p166:blipFill xmlns:p166="http://schemas.microsoft.com/office/powerpoint/2016/6/main">
                        <a:blip r:embed="rId2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54" name="Section Zoom 53">
                <a:hlinkClick r:id="rId24" action="ppaction://hlinksldjump"/>
                <a:extLst>
                  <a:ext uri="{FF2B5EF4-FFF2-40B4-BE49-F238E27FC236}">
                    <a16:creationId xmlns:a16="http://schemas.microsoft.com/office/drawing/2014/main" id="{355ADF7D-08BC-E7C7-A399-C8CE899BA42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8585200" y="4759452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9287906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4" name="Content Placeholder 5">
                <a:extLst>
                  <a:ext uri="{FF2B5EF4-FFF2-40B4-BE49-F238E27FC236}">
                    <a16:creationId xmlns:a16="http://schemas.microsoft.com/office/drawing/2014/main" id="{1668C1EC-E7CD-2503-4CFF-1F8F93E2B6C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426778509"/>
                  </p:ext>
                </p:extLst>
              </p:nvPr>
            </p:nvGraphicFramePr>
            <p:xfrm rot="1824729">
              <a:off x="-3450843" y="-4360054"/>
              <a:ext cx="2590310" cy="7003205"/>
            </p:xfrm>
            <a:graphic>
              <a:graphicData uri="http://schemas.microsoft.com/office/drawing/2017/model3d">
                <am3d:model3d r:embed="rId2">
                  <am3d:spPr>
                    <a:xfrm rot="1824729">
                      <a:off x="0" y="0"/>
                      <a:ext cx="2590310" cy="7003205"/>
                    </a:xfrm>
                    <a:prstGeom prst="rect">
                      <a:avLst/>
                    </a:prstGeom>
                  </am3d:spPr>
                  <am3d:camera>
                    <am3d:pos x="0" y="0" z="5245764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4750433" d="1000000"/>
                    <am3d:preTrans dx="959" dy="42144" dz="450431"/>
                    <am3d:scale>
                      <am3d:sx n="1000000" d="1000000"/>
                      <am3d:sy n="1000000" d="1000000"/>
                      <am3d:sz n="1000000" d="1000000"/>
                    </am3d:scale>
                    <am3d:rot ax="8312774" ay="3193735" az="8683135"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7751879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4" name="Content Placeholder 5">
                <a:extLst>
                  <a:ext uri="{FF2B5EF4-FFF2-40B4-BE49-F238E27FC236}">
                    <a16:creationId xmlns:a16="http://schemas.microsoft.com/office/drawing/2014/main" id="{1668C1EC-E7CD-2503-4CFF-1F8F93E2B6C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rot="1824729">
                <a:off x="-3450843" y="-4360054"/>
                <a:ext cx="2590310" cy="7003205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5" name="Content Placeholder 5">
                <a:extLst>
                  <a:ext uri="{FF2B5EF4-FFF2-40B4-BE49-F238E27FC236}">
                    <a16:creationId xmlns:a16="http://schemas.microsoft.com/office/drawing/2014/main" id="{460526DA-1496-F629-D30C-76E394848CCC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197519880"/>
                  </p:ext>
                </p:extLst>
              </p:nvPr>
            </p:nvGraphicFramePr>
            <p:xfrm rot="2035367">
              <a:off x="12721741" y="1938681"/>
              <a:ext cx="3585221" cy="9150008"/>
            </p:xfrm>
            <a:graphic>
              <a:graphicData uri="http://schemas.microsoft.com/office/drawing/2017/model3d">
                <am3d:model3d r:embed="rId2">
                  <am3d:spPr>
                    <a:xfrm rot="2035367">
                      <a:off x="0" y="0"/>
                      <a:ext cx="3585221" cy="9150008"/>
                    </a:xfrm>
                    <a:prstGeom prst="rect">
                      <a:avLst/>
                    </a:prstGeom>
                  </am3d:spPr>
                  <am3d:camera>
                    <am3d:pos x="0" y="0" z="52457643"/>
                    <am3d:up dx="0" dy="36000000" dz="0"/>
                    <am3d:lookAt x="0" y="0" z="0"/>
                    <am3d:perspective fov="2707813"/>
                  </am3d:camera>
                  <am3d:trans>
                    <am3d:meterPerModelUnit n="4750433" d="1000000"/>
                    <am3d:preTrans dx="959" dy="42144" dz="450431"/>
                    <am3d:scale>
                      <am3d:sx n="1000000" d="1000000"/>
                      <am3d:sy n="1000000" d="1000000"/>
                      <am3d:sz n="1000000" d="1000000"/>
                    </am3d:scale>
                    <am3d:rot ax="7993661" ay="-3075777" az="-8418777"/>
                    <am3d:postTrans dx="0" dy="0" dz="0"/>
                  </am3d:trans>
                  <am3d:raster rName="Office3DRenderer" rVer="16.0.8326">
                    <am3d:blip r:embed="rId4"/>
                  </am3d:raster>
                  <am3d:winViewport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5" name="Content Placeholder 5">
                <a:extLst>
                  <a:ext uri="{FF2B5EF4-FFF2-40B4-BE49-F238E27FC236}">
                    <a16:creationId xmlns:a16="http://schemas.microsoft.com/office/drawing/2014/main" id="{460526DA-1496-F629-D30C-76E394848CC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2035367">
                <a:off x="12721741" y="1938681"/>
                <a:ext cx="3585221" cy="9150008"/>
              </a:xfrm>
              <a:prstGeom prst="rect">
                <a:avLst/>
              </a:prstGeom>
            </p:spPr>
          </p:pic>
        </mc:Fallback>
      </mc:AlternateContent>
      <p:sp>
        <p:nvSpPr>
          <p:cNvPr id="6" name="TextBox 5">
            <a:extLst>
              <a:ext uri="{FF2B5EF4-FFF2-40B4-BE49-F238E27FC236}">
                <a16:creationId xmlns:a16="http://schemas.microsoft.com/office/drawing/2014/main" id="{9059A224-C3B4-094A-6F8A-259424C9EBDF}"/>
              </a:ext>
            </a:extLst>
          </p:cNvPr>
          <p:cNvSpPr txBox="1"/>
          <p:nvPr/>
        </p:nvSpPr>
        <p:spPr>
          <a:xfrm>
            <a:off x="4170915" y="1183144"/>
            <a:ext cx="5127814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800" b="0" i="0" u="none" strike="noStrike" kern="1200" cap="none" spc="30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POSITIONING STATEMENT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D751D4E-AD58-837E-C1AC-ACFB5B956FDC}"/>
              </a:ext>
            </a:extLst>
          </p:cNvPr>
          <p:cNvSpPr/>
          <p:nvPr/>
        </p:nvSpPr>
        <p:spPr>
          <a:xfrm>
            <a:off x="2969402" y="917517"/>
            <a:ext cx="901757" cy="90175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3DED4BD2-C500-A4EA-E714-88C2F8AA6E20}"/>
              </a:ext>
            </a:extLst>
          </p:cNvPr>
          <p:cNvSpPr/>
          <p:nvPr/>
        </p:nvSpPr>
        <p:spPr>
          <a:xfrm>
            <a:off x="3113377" y="1158530"/>
            <a:ext cx="757254" cy="660745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00A8FF">
                  <a:lumMod val="60000"/>
                  <a:lumOff val="40000"/>
                </a:srgb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A018EFA-4CF5-D73E-4F5D-59FA452D2C43}"/>
              </a:ext>
            </a:extLst>
          </p:cNvPr>
          <p:cNvSpPr/>
          <p:nvPr/>
        </p:nvSpPr>
        <p:spPr>
          <a:xfrm>
            <a:off x="3578804" y="814358"/>
            <a:ext cx="455584" cy="45558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pic>
        <p:nvPicPr>
          <p:cNvPr id="11" name="Picture 10" descr="A logo with a horn and text&#10;&#10;Description automatically generated with medium confidence">
            <a:extLst>
              <a:ext uri="{FF2B5EF4-FFF2-40B4-BE49-F238E27FC236}">
                <a16:creationId xmlns:a16="http://schemas.microsoft.com/office/drawing/2014/main" id="{B121B663-9FA4-4B0A-B24E-B838A685A29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3272" y="1062701"/>
            <a:ext cx="1036440" cy="583582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2BF11F0-92D9-CB3E-6173-81C07B4F4D57}"/>
              </a:ext>
            </a:extLst>
          </p:cNvPr>
          <p:cNvSpPr txBox="1"/>
          <p:nvPr/>
        </p:nvSpPr>
        <p:spPr>
          <a:xfrm>
            <a:off x="863600" y="2818109"/>
            <a:ext cx="10769599" cy="157575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indent="0" algn="ctr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kern="1200" spc="0" baseline="0" dirty="0">
                <a:ln>
                  <a:noFill/>
                </a:ln>
                <a:solidFill>
                  <a:srgbClr val="F7F8FB"/>
                </a:solidFill>
                <a:effectLst/>
                <a:latin typeface="Segoe UI Semibold" panose="020B0702040204020203" pitchFamily="34" charset="0"/>
                <a:ea typeface="+mn-ea"/>
                <a:cs typeface="+mn-cs"/>
              </a:rPr>
              <a:t>“At </a:t>
            </a:r>
            <a:r>
              <a:rPr lang="en-US" sz="1800" b="0" i="0" kern="1200" spc="0" baseline="0" dirty="0" err="1">
                <a:ln>
                  <a:noFill/>
                </a:ln>
                <a:solidFill>
                  <a:srgbClr val="F7F8FB"/>
                </a:solidFill>
                <a:effectLst/>
                <a:latin typeface="Segoe UI Semibold" panose="020B0702040204020203" pitchFamily="34" charset="0"/>
                <a:ea typeface="+mn-ea"/>
                <a:cs typeface="+mn-cs"/>
              </a:rPr>
              <a:t>Hypyxel</a:t>
            </a:r>
            <a:r>
              <a:rPr lang="en-US" sz="1800" b="0" i="0" kern="1200" spc="0" baseline="0" dirty="0">
                <a:ln>
                  <a:noFill/>
                </a:ln>
                <a:solidFill>
                  <a:srgbClr val="F7F8FB"/>
                </a:solidFill>
                <a:effectLst/>
                <a:latin typeface="Segoe UI Semibold" panose="020B0702040204020203" pitchFamily="34" charset="0"/>
                <a:ea typeface="+mn-ea"/>
                <a:cs typeface="+mn-cs"/>
              </a:rPr>
              <a:t>, we are dedicated to empowering students to easily discover events and exclusive promotions while helping small businesses thrive and connect with their community through our all-in-one platform.”</a:t>
            </a:r>
            <a:endParaRPr lang="en-US" dirty="0">
              <a:effectLst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5840A19-481F-DB18-0105-C84CED96E186}"/>
              </a:ext>
            </a:extLst>
          </p:cNvPr>
          <p:cNvSpPr txBox="1"/>
          <p:nvPr/>
        </p:nvSpPr>
        <p:spPr>
          <a:xfrm>
            <a:off x="5262438" y="8359474"/>
            <a:ext cx="1667123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 dirty="0">
                <a:cs typeface="Segoe UI Semibold"/>
              </a:rPr>
              <a:t>Centralized Platfor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D2E9697-579F-FA81-56E0-C4CE531FAFF2}"/>
              </a:ext>
            </a:extLst>
          </p:cNvPr>
          <p:cNvSpPr txBox="1"/>
          <p:nvPr/>
        </p:nvSpPr>
        <p:spPr>
          <a:xfrm>
            <a:off x="-1848162" y="3044279"/>
            <a:ext cx="1272784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 dirty="0">
                <a:cs typeface="Segoe UI Semibold"/>
              </a:rPr>
              <a:t>Discover Events</a:t>
            </a:r>
            <a:endParaRPr lang="en-US" sz="1400" kern="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6AF172B-132A-5594-0AFA-E65F90FBBF81}"/>
              </a:ext>
            </a:extLst>
          </p:cNvPr>
          <p:cNvSpPr txBox="1"/>
          <p:nvPr/>
        </p:nvSpPr>
        <p:spPr>
          <a:xfrm>
            <a:off x="2650282" y="-957048"/>
            <a:ext cx="1285608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 dirty="0">
                <a:cs typeface="Segoe UI Semibold"/>
              </a:rPr>
              <a:t>Budget Friendly</a:t>
            </a:r>
            <a:endParaRPr lang="en-US" sz="1400" kern="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BA81AB-FCD8-EDA5-01A6-9770DA1D3728}"/>
              </a:ext>
            </a:extLst>
          </p:cNvPr>
          <p:cNvSpPr txBox="1"/>
          <p:nvPr/>
        </p:nvSpPr>
        <p:spPr>
          <a:xfrm>
            <a:off x="2807376" y="7094951"/>
            <a:ext cx="1128514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 dirty="0">
                <a:cs typeface="Segoe UI Semibold"/>
              </a:rPr>
              <a:t>Get Discounts</a:t>
            </a:r>
            <a:endParaRPr lang="en-US" sz="1400" kern="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2EF0192-3842-0043-CC20-7EA562F954A3}"/>
              </a:ext>
            </a:extLst>
          </p:cNvPr>
          <p:cNvSpPr txBox="1"/>
          <p:nvPr/>
        </p:nvSpPr>
        <p:spPr>
          <a:xfrm>
            <a:off x="7571423" y="-1064770"/>
            <a:ext cx="2088713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 dirty="0">
                <a:cs typeface="Segoe UI Semibold"/>
              </a:rPr>
              <a:t>Raise Awareness of Brand</a:t>
            </a:r>
            <a:endParaRPr lang="en-US" sz="1400" kern="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691A5D3-8D16-1C03-0906-580C477B1DF8}"/>
              </a:ext>
            </a:extLst>
          </p:cNvPr>
          <p:cNvSpPr txBox="1"/>
          <p:nvPr/>
        </p:nvSpPr>
        <p:spPr>
          <a:xfrm>
            <a:off x="12587719" y="2758831"/>
            <a:ext cx="1673535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 dirty="0">
                <a:cs typeface="Segoe UI Semibold"/>
              </a:rPr>
              <a:t>Build Customer Base</a:t>
            </a:r>
            <a:endParaRPr lang="en-US" sz="1400" kern="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D2E0DD7-3A39-92B7-B372-930C48E06928}"/>
              </a:ext>
            </a:extLst>
          </p:cNvPr>
          <p:cNvSpPr txBox="1"/>
          <p:nvPr/>
        </p:nvSpPr>
        <p:spPr>
          <a:xfrm>
            <a:off x="7584247" y="7175276"/>
            <a:ext cx="2075889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kern="0" dirty="0">
                <a:cs typeface="Segoe UI Semibold"/>
              </a:rPr>
              <a:t>Empower the Community</a:t>
            </a:r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23951286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6" name="Content Placeholder 5">
                <a:extLst>
                  <a:ext uri="{FF2B5EF4-FFF2-40B4-BE49-F238E27FC236}">
                    <a16:creationId xmlns:a16="http://schemas.microsoft.com/office/drawing/2014/main" id="{069C361D-7CC9-3CE8-4DEB-087949CFF4FD}"/>
                  </a:ext>
                </a:extLst>
              </p:cNvPr>
              <p:cNvGraphicFramePr>
                <a:graphicFrameLocks noGrp="1" noChangeAspect="1"/>
              </p:cNvGraphicFramePr>
              <p:nvPr>
                <p:ph idx="11"/>
                <p:extLst>
                  <p:ext uri="{D42A27DB-BD31-4B8C-83A1-F6EECF244321}">
                    <p14:modId xmlns:p14="http://schemas.microsoft.com/office/powerpoint/2010/main" val="426308108"/>
                  </p:ext>
                </p:extLst>
              </p:nvPr>
            </p:nvGraphicFramePr>
            <p:xfrm rot="1824729">
              <a:off x="13534261" y="-2173693"/>
              <a:ext cx="2263180" cy="4347384"/>
            </p:xfrm>
            <a:graphic>
              <a:graphicData uri="http://schemas.microsoft.com/office/drawing/2017/model3d">
                <am3d:model3d r:embed="rId3">
                  <am3d:spPr>
                    <a:xfrm rot="1824729">
                      <a:off x="0" y="0"/>
                      <a:ext cx="2263180" cy="4347384"/>
                    </a:xfrm>
                    <a:prstGeom prst="rect">
                      <a:avLst/>
                    </a:prstGeom>
                  </am3d:spPr>
                  <am3d:camera>
                    <am3d:pos x="0" y="0" z="5245764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4750433" d="1000000"/>
                    <am3d:preTrans dx="959" dy="42144" dz="450431"/>
                    <am3d:scale>
                      <am3d:sx n="1000000" d="1000000"/>
                      <am3d:sy n="1000000" d="1000000"/>
                      <am3d:sz n="1000000" d="1000000"/>
                    </am3d:scale>
                    <am3d:rot ax="-9598088" ay="-95299" az="10765265"/>
                    <am3d:postTrans dx="0" dy="0" dz="0"/>
                  </am3d:trans>
                  <am3d:raster rName="Office3DRenderer" rVer="16.0.8326">
                    <am3d:blip r:embed="rId4"/>
                  </am3d:raster>
                  <am3d:objViewport viewportSz="4929143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6" name="Content Placeholder 5">
                <a:extLst>
                  <a:ext uri="{FF2B5EF4-FFF2-40B4-BE49-F238E27FC236}">
                    <a16:creationId xmlns:a16="http://schemas.microsoft.com/office/drawing/2014/main" id="{069C361D-7CC9-3CE8-4DEB-087949CFF4F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824729">
                <a:off x="13534261" y="-2173693"/>
                <a:ext cx="2263180" cy="4347384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7" name="Content Placeholder 5">
                <a:extLst>
                  <a:ext uri="{FF2B5EF4-FFF2-40B4-BE49-F238E27FC236}">
                    <a16:creationId xmlns:a16="http://schemas.microsoft.com/office/drawing/2014/main" id="{DF174559-F67C-FA3C-48E6-6664502545D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35315550"/>
                  </p:ext>
                </p:extLst>
              </p:nvPr>
            </p:nvGraphicFramePr>
            <p:xfrm rot="1824729">
              <a:off x="-4341550" y="5259104"/>
              <a:ext cx="2099421" cy="4510464"/>
            </p:xfrm>
            <a:graphic>
              <a:graphicData uri="http://schemas.microsoft.com/office/drawing/2017/model3d">
                <am3d:model3d r:embed="rId3">
                  <am3d:spPr>
                    <a:xfrm rot="1824729">
                      <a:off x="0" y="0"/>
                      <a:ext cx="2099421" cy="4510464"/>
                    </a:xfrm>
                    <a:prstGeom prst="rect">
                      <a:avLst/>
                    </a:prstGeom>
                  </am3d:spPr>
                  <am3d:camera>
                    <am3d:pos x="0" y="0" z="5245764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4750433" d="1000000"/>
                    <am3d:preTrans dx="959" dy="42144" dz="450431"/>
                    <am3d:scale>
                      <am3d:sx n="1000000" d="1000000"/>
                      <am3d:sy n="1000000" d="1000000"/>
                      <am3d:sz n="1000000" d="1000000"/>
                    </am3d:scale>
                    <am3d:rot ax="-10098151" ay="-1862072" az="-365598"/>
                    <am3d:postTrans dx="0" dy="0" dz="0"/>
                  </am3d:trans>
                  <am3d:raster rName="Office3DRenderer" rVer="16.0.8326">
                    <am3d:blip r:embed="rId5"/>
                  </am3d:raster>
                  <am3d:objViewport viewportSz="4929155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7" name="Content Placeholder 5">
                <a:extLst>
                  <a:ext uri="{FF2B5EF4-FFF2-40B4-BE49-F238E27FC236}">
                    <a16:creationId xmlns:a16="http://schemas.microsoft.com/office/drawing/2014/main" id="{DF174559-F67C-FA3C-48E6-6664502545D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1824729">
                <a:off x="-4341550" y="5259104"/>
                <a:ext cx="2099421" cy="4510464"/>
              </a:xfrm>
              <a:prstGeom prst="rect">
                <a:avLst/>
              </a:prstGeom>
            </p:spPr>
          </p:pic>
        </mc:Fallback>
      </mc:AlternateContent>
      <p:pic>
        <p:nvPicPr>
          <p:cNvPr id="8" name="Picture 7" descr="A logo with a horn and text&#10;&#10;Description automatically generated with medium confidence">
            <a:extLst>
              <a:ext uri="{FF2B5EF4-FFF2-40B4-BE49-F238E27FC236}">
                <a16:creationId xmlns:a16="http://schemas.microsoft.com/office/drawing/2014/main" id="{F39FF460-A128-AE19-EAE8-A53A981264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509" cy="6865716"/>
          </a:xfrm>
          <a:prstGeom prst="rect">
            <a:avLst/>
          </a:prstGeom>
        </p:spPr>
      </p:pic>
      <p:pic>
        <p:nvPicPr>
          <p:cNvPr id="3" name="Picture 2" descr="A screenshot of a login form&#10;&#10;Description automatically generated">
            <a:extLst>
              <a:ext uri="{FF2B5EF4-FFF2-40B4-BE49-F238E27FC236}">
                <a16:creationId xmlns:a16="http://schemas.microsoft.com/office/drawing/2014/main" id="{74546F1E-060E-A9CB-43D5-2B88DF56B65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9307" y="7249764"/>
            <a:ext cx="3571875" cy="6353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8615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menu&#10;&#10;Description automatically generated">
            <a:extLst>
              <a:ext uri="{FF2B5EF4-FFF2-40B4-BE49-F238E27FC236}">
                <a16:creationId xmlns:a16="http://schemas.microsoft.com/office/drawing/2014/main" id="{88410DE7-AF5B-B90E-AFAA-BB184A5025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53316" y="0"/>
            <a:ext cx="3571875" cy="6353175"/>
          </a:xfrm>
          <a:prstGeom prst="rect">
            <a:avLst/>
          </a:prstGeom>
        </p:spPr>
      </p:pic>
      <p:pic>
        <p:nvPicPr>
          <p:cNvPr id="11" name="Picture 10" descr="A screenshot of a phone&#10;&#10;Description automatically generated">
            <a:extLst>
              <a:ext uri="{FF2B5EF4-FFF2-40B4-BE49-F238E27FC236}">
                <a16:creationId xmlns:a16="http://schemas.microsoft.com/office/drawing/2014/main" id="{ED355CE5-5788-EA7E-70B1-98262D1AAE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2212" y="-6678468"/>
            <a:ext cx="3571875" cy="6353175"/>
          </a:xfrm>
          <a:prstGeom prst="rect">
            <a:avLst/>
          </a:prstGeom>
        </p:spPr>
      </p:pic>
      <p:pic>
        <p:nvPicPr>
          <p:cNvPr id="13" name="Picture 12" descr="A screenshot of a login form&#10;&#10;Description automatically generated">
            <a:extLst>
              <a:ext uri="{FF2B5EF4-FFF2-40B4-BE49-F238E27FC236}">
                <a16:creationId xmlns:a16="http://schemas.microsoft.com/office/drawing/2014/main" id="{82135539-BE8C-FD62-DBE1-558F80D00FA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2213" y="120776"/>
            <a:ext cx="3571875" cy="6353175"/>
          </a:xfrm>
          <a:prstGeom prst="rect">
            <a:avLst/>
          </a:prstGeom>
        </p:spPr>
      </p:pic>
      <p:pic>
        <p:nvPicPr>
          <p:cNvPr id="15" name="Picture 14" descr="A screenshot of a phone&#10;&#10;Description automatically generated">
            <a:extLst>
              <a:ext uri="{FF2B5EF4-FFF2-40B4-BE49-F238E27FC236}">
                <a16:creationId xmlns:a16="http://schemas.microsoft.com/office/drawing/2014/main" id="{EDD0A50A-C18D-25EC-4504-9AEB231BF2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98613" y="7540751"/>
            <a:ext cx="3571875" cy="6353175"/>
          </a:xfrm>
          <a:prstGeom prst="rect">
            <a:avLst/>
          </a:prstGeom>
        </p:spPr>
      </p:pic>
      <p:pic>
        <p:nvPicPr>
          <p:cNvPr id="17" name="Picture 16" descr="A screenshot of a phone&#10;&#10;Description automatically generated">
            <a:extLst>
              <a:ext uri="{FF2B5EF4-FFF2-40B4-BE49-F238E27FC236}">
                <a16:creationId xmlns:a16="http://schemas.microsoft.com/office/drawing/2014/main" id="{461339E3-2224-5738-9633-82A6C946650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53317" y="7337551"/>
            <a:ext cx="3571875" cy="6353175"/>
          </a:xfrm>
          <a:prstGeom prst="rect">
            <a:avLst/>
          </a:prstGeom>
        </p:spPr>
      </p:pic>
      <p:pic>
        <p:nvPicPr>
          <p:cNvPr id="19" name="Picture 18" descr="A screenshot of a calendar&#10;&#10;Description automatically generated">
            <a:extLst>
              <a:ext uri="{FF2B5EF4-FFF2-40B4-BE49-F238E27FC236}">
                <a16:creationId xmlns:a16="http://schemas.microsoft.com/office/drawing/2014/main" id="{74B7426A-8C70-2519-15FB-D792F9D5044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98613" y="0"/>
            <a:ext cx="3571875" cy="6353175"/>
          </a:xfrm>
          <a:prstGeom prst="rect">
            <a:avLst/>
          </a:prstGeom>
        </p:spPr>
      </p:pic>
      <p:pic>
        <p:nvPicPr>
          <p:cNvPr id="8" name="Picture 7" descr="A logo with a horn and text&#10;&#10;Description automatically generated with medium confidence">
            <a:extLst>
              <a:ext uri="{FF2B5EF4-FFF2-40B4-BE49-F238E27FC236}">
                <a16:creationId xmlns:a16="http://schemas.microsoft.com/office/drawing/2014/main" id="{F39FF460-A128-AE19-EAE8-A53A9812643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3581" y="422803"/>
            <a:ext cx="1869136" cy="1052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9297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menu&#10;&#10;Description automatically generated">
            <a:extLst>
              <a:ext uri="{FF2B5EF4-FFF2-40B4-BE49-F238E27FC236}">
                <a16:creationId xmlns:a16="http://schemas.microsoft.com/office/drawing/2014/main" id="{88410DE7-AF5B-B90E-AFAA-BB184A5025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652" y="128587"/>
            <a:ext cx="3571875" cy="6353175"/>
          </a:xfrm>
          <a:prstGeom prst="rect">
            <a:avLst/>
          </a:prstGeom>
        </p:spPr>
      </p:pic>
      <p:pic>
        <p:nvPicPr>
          <p:cNvPr id="11" name="Picture 10" descr="A screenshot of a phone&#10;&#10;Description automatically generated">
            <a:extLst>
              <a:ext uri="{FF2B5EF4-FFF2-40B4-BE49-F238E27FC236}">
                <a16:creationId xmlns:a16="http://schemas.microsoft.com/office/drawing/2014/main" id="{ED355CE5-5788-EA7E-70B1-98262D1AAE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0062" y="128587"/>
            <a:ext cx="3571875" cy="6353175"/>
          </a:xfrm>
          <a:prstGeom prst="rect">
            <a:avLst/>
          </a:prstGeom>
        </p:spPr>
      </p:pic>
      <p:pic>
        <p:nvPicPr>
          <p:cNvPr id="13" name="Picture 12" descr="A screenshot of a login form&#10;&#10;Description automatically generated">
            <a:extLst>
              <a:ext uri="{FF2B5EF4-FFF2-40B4-BE49-F238E27FC236}">
                <a16:creationId xmlns:a16="http://schemas.microsoft.com/office/drawing/2014/main" id="{82135539-BE8C-FD62-DBE1-558F80D00FA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4842" y="7444443"/>
            <a:ext cx="3571875" cy="6353175"/>
          </a:xfrm>
          <a:prstGeom prst="rect">
            <a:avLst/>
          </a:prstGeom>
        </p:spPr>
      </p:pic>
      <p:pic>
        <p:nvPicPr>
          <p:cNvPr id="15" name="Picture 14" descr="A screenshot of a phone&#10;&#10;Description automatically generated">
            <a:extLst>
              <a:ext uri="{FF2B5EF4-FFF2-40B4-BE49-F238E27FC236}">
                <a16:creationId xmlns:a16="http://schemas.microsoft.com/office/drawing/2014/main" id="{EDD0A50A-C18D-25EC-4504-9AEB231BF2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96932" y="122361"/>
            <a:ext cx="3571875" cy="6353175"/>
          </a:xfrm>
          <a:prstGeom prst="rect">
            <a:avLst/>
          </a:prstGeom>
        </p:spPr>
      </p:pic>
      <p:pic>
        <p:nvPicPr>
          <p:cNvPr id="17" name="Picture 16" descr="A screenshot of a phone&#10;&#10;Description automatically generated">
            <a:extLst>
              <a:ext uri="{FF2B5EF4-FFF2-40B4-BE49-F238E27FC236}">
                <a16:creationId xmlns:a16="http://schemas.microsoft.com/office/drawing/2014/main" id="{461339E3-2224-5738-9633-82A6C946650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69413" y="122362"/>
            <a:ext cx="3571875" cy="6353175"/>
          </a:xfrm>
          <a:prstGeom prst="rect">
            <a:avLst/>
          </a:prstGeom>
        </p:spPr>
      </p:pic>
      <p:pic>
        <p:nvPicPr>
          <p:cNvPr id="19" name="Picture 18" descr="A screenshot of a calendar&#10;&#10;Description automatically generated">
            <a:extLst>
              <a:ext uri="{FF2B5EF4-FFF2-40B4-BE49-F238E27FC236}">
                <a16:creationId xmlns:a16="http://schemas.microsoft.com/office/drawing/2014/main" id="{74B7426A-8C70-2519-15FB-D792F9D5044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867" y="122363"/>
            <a:ext cx="3571875" cy="6353175"/>
          </a:xfrm>
          <a:prstGeom prst="rect">
            <a:avLst/>
          </a:prstGeom>
        </p:spPr>
      </p:pic>
      <p:pic>
        <p:nvPicPr>
          <p:cNvPr id="3" name="Picture 2" descr="A logo with a horn and text&#10;&#10;Description automatically generated with medium confidence">
            <a:extLst>
              <a:ext uri="{FF2B5EF4-FFF2-40B4-BE49-F238E27FC236}">
                <a16:creationId xmlns:a16="http://schemas.microsoft.com/office/drawing/2014/main" id="{19725DCE-5D6D-E035-DB87-B448896A2C6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6211" y="7742568"/>
            <a:ext cx="1869136" cy="1052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1996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menu&#10;&#10;Description automatically generated">
            <a:extLst>
              <a:ext uri="{FF2B5EF4-FFF2-40B4-BE49-F238E27FC236}">
                <a16:creationId xmlns:a16="http://schemas.microsoft.com/office/drawing/2014/main" id="{88410DE7-AF5B-B90E-AFAA-BB184A5025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48844" y="128584"/>
            <a:ext cx="3571875" cy="6353175"/>
          </a:xfrm>
          <a:prstGeom prst="rect">
            <a:avLst/>
          </a:prstGeom>
        </p:spPr>
      </p:pic>
      <p:pic>
        <p:nvPicPr>
          <p:cNvPr id="11" name="Picture 10" descr="A screenshot of a phone&#10;&#10;Description automatically generated">
            <a:extLst>
              <a:ext uri="{FF2B5EF4-FFF2-40B4-BE49-F238E27FC236}">
                <a16:creationId xmlns:a16="http://schemas.microsoft.com/office/drawing/2014/main" id="{ED355CE5-5788-EA7E-70B1-98262D1AAE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0062" y="-7025643"/>
            <a:ext cx="3571875" cy="6353175"/>
          </a:xfrm>
          <a:prstGeom prst="rect">
            <a:avLst/>
          </a:prstGeom>
        </p:spPr>
      </p:pic>
      <p:pic>
        <p:nvPicPr>
          <p:cNvPr id="15" name="Picture 14" descr="A screenshot of a phone&#10;&#10;Description automatically generated">
            <a:extLst>
              <a:ext uri="{FF2B5EF4-FFF2-40B4-BE49-F238E27FC236}">
                <a16:creationId xmlns:a16="http://schemas.microsoft.com/office/drawing/2014/main" id="{EDD0A50A-C18D-25EC-4504-9AEB231BF2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140" y="252410"/>
            <a:ext cx="3571875" cy="6353175"/>
          </a:xfrm>
          <a:prstGeom prst="rect">
            <a:avLst/>
          </a:prstGeom>
        </p:spPr>
      </p:pic>
      <p:pic>
        <p:nvPicPr>
          <p:cNvPr id="17" name="Picture 16" descr="A screenshot of a phone&#10;&#10;Description automatically generated">
            <a:extLst>
              <a:ext uri="{FF2B5EF4-FFF2-40B4-BE49-F238E27FC236}">
                <a16:creationId xmlns:a16="http://schemas.microsoft.com/office/drawing/2014/main" id="{461339E3-2224-5738-9633-82A6C946650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8985" y="252410"/>
            <a:ext cx="3571875" cy="6353175"/>
          </a:xfrm>
          <a:prstGeom prst="rect">
            <a:avLst/>
          </a:prstGeom>
        </p:spPr>
      </p:pic>
      <p:pic>
        <p:nvPicPr>
          <p:cNvPr id="19" name="Picture 18" descr="A screenshot of a calendar&#10;&#10;Description automatically generated">
            <a:extLst>
              <a:ext uri="{FF2B5EF4-FFF2-40B4-BE49-F238E27FC236}">
                <a16:creationId xmlns:a16="http://schemas.microsoft.com/office/drawing/2014/main" id="{74B7426A-8C70-2519-15FB-D792F9D5044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35957" y="252411"/>
            <a:ext cx="3571875" cy="6353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0662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463DC58-D4E5-068E-88EA-356FFA76C8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463DC58-D4E5-068E-88EA-356FFA76C8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3577D7D-08F5-3CC7-FECA-5338E96EECEC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5BA389-C1EB-039A-A167-5C87C89561A1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7DB9518-6243-E4B3-934F-78A356695D7C}"/>
              </a:ext>
            </a:extLst>
          </p:cNvPr>
          <p:cNvSpPr txBox="1"/>
          <p:nvPr/>
        </p:nvSpPr>
        <p:spPr>
          <a:xfrm>
            <a:off x="5905429" y="3152001"/>
            <a:ext cx="542070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sz="3600" dirty="0">
                <a:solidFill>
                  <a:srgbClr val="F5F6FA"/>
                </a:solidFill>
                <a:latin typeface="Segoe UI Black"/>
              </a:rPr>
              <a:t>OUR CUSTOMERS</a:t>
            </a:r>
            <a:endParaRPr kumimoji="0" lang="de-DE" altLang="de-DE" sz="3600" b="0" i="0" u="none" strike="noStrike" kern="1200" cap="none" spc="0" normalizeH="0" baseline="0" noProof="0" dirty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Black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C1A78BD-40CA-1A03-3C3D-111B4C068940}"/>
              </a:ext>
            </a:extLst>
          </p:cNvPr>
          <p:cNvSpPr txBox="1">
            <a:spLocks/>
          </p:cNvSpPr>
          <p:nvPr/>
        </p:nvSpPr>
        <p:spPr>
          <a:xfrm>
            <a:off x="1371600" y="2176780"/>
            <a:ext cx="3927057" cy="2504440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8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25000" b="0" i="0" u="none" strike="noStrike" kern="0" cap="none" spc="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Black"/>
                <a:ea typeface="+mn-ea"/>
                <a:cs typeface="+mn-cs"/>
              </a:rPr>
              <a:t>04</a:t>
            </a:r>
            <a:endParaRPr kumimoji="0" lang="en-US" sz="25000" b="0" i="0" u="none" strike="noStrike" kern="0" cap="none" spc="0" normalizeH="0" baseline="0" noProof="0" dirty="0">
              <a:ln>
                <a:noFill/>
              </a:ln>
              <a:solidFill>
                <a:srgbClr val="00A8FF"/>
              </a:solidFill>
              <a:effectLst/>
              <a:uLnTx/>
              <a:uFillTx/>
              <a:latin typeface="Segoe UI Black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02EFDA-76C9-ED0A-D19D-02326111DEEC}"/>
              </a:ext>
            </a:extLst>
          </p:cNvPr>
          <p:cNvSpPr/>
          <p:nvPr/>
        </p:nvSpPr>
        <p:spPr>
          <a:xfrm>
            <a:off x="13218759" y="-38100"/>
            <a:ext cx="4630057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54E5ABC-F8F6-5936-6666-73C7D27280F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67" b="16667"/>
          <a:stretch/>
        </p:blipFill>
        <p:spPr>
          <a:xfrm>
            <a:off x="12305071" y="1286779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575D685-BCFD-C704-3B4B-8A4FBEDF75B1}"/>
              </a:ext>
            </a:extLst>
          </p:cNvPr>
          <p:cNvSpPr txBox="1"/>
          <p:nvPr/>
        </p:nvSpPr>
        <p:spPr>
          <a:xfrm>
            <a:off x="13491018" y="5999630"/>
            <a:ext cx="263553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800" b="0" i="0" u="none" strike="noStrike" kern="1200" cap="none" spc="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EMILY SHARP</a:t>
            </a:r>
          </a:p>
        </p:txBody>
      </p:sp>
    </p:spTree>
    <p:extLst>
      <p:ext uri="{BB962C8B-B14F-4D97-AF65-F5344CB8AC3E}">
        <p14:creationId xmlns:p14="http://schemas.microsoft.com/office/powerpoint/2010/main" val="2730069057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2" y="0"/>
            <a:ext cx="4630057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95214" y="1109436"/>
            <a:ext cx="3267048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800" b="0" i="0" u="none" strike="noStrike" kern="1200" cap="none" spc="30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Target Customer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67" b="16667"/>
          <a:stretch/>
        </p:blipFill>
        <p:spPr>
          <a:xfrm>
            <a:off x="6648254" y="1324879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err="1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1648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1999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E5E58-F806-443A-840F-4982B48917A1}"/>
              </a:ext>
            </a:extLst>
          </p:cNvPr>
          <p:cNvSpPr/>
          <p:nvPr/>
        </p:nvSpPr>
        <p:spPr>
          <a:xfrm>
            <a:off x="-4736845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71C102C-BCBE-4345-8440-849CA7EAA9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3" r="17153"/>
          <a:stretch/>
        </p:blipFill>
        <p:spPr>
          <a:xfrm>
            <a:off x="-6898443" y="1109436"/>
            <a:ext cx="4476626" cy="458746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6A018D6-181A-EDE2-9259-DDB9D8EE34E9}"/>
              </a:ext>
            </a:extLst>
          </p:cNvPr>
          <p:cNvSpPr txBox="1"/>
          <p:nvPr/>
        </p:nvSpPr>
        <p:spPr>
          <a:xfrm>
            <a:off x="7834201" y="6037730"/>
            <a:ext cx="263553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800" b="0" i="0" u="none" strike="noStrike" kern="1200" cap="none" spc="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EMILY SHAR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51D6B7-0768-2AAE-A947-D4B792044697}"/>
              </a:ext>
            </a:extLst>
          </p:cNvPr>
          <p:cNvSpPr txBox="1"/>
          <p:nvPr/>
        </p:nvSpPr>
        <p:spPr>
          <a:xfrm>
            <a:off x="863600" y="2243565"/>
            <a:ext cx="5644961" cy="28623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 kern="0" dirty="0">
                <a:cs typeface="Segoe UI Semibold"/>
              </a:rPr>
              <a:t>Emily, the College Sophomore:</a:t>
            </a:r>
          </a:p>
          <a:p>
            <a:r>
              <a:rPr lang="en-US" kern="0" dirty="0">
                <a:cs typeface="Segoe UI Semibold"/>
              </a:rPr>
              <a:t>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>
                <a:cs typeface="Segoe UI Semibold"/>
              </a:rPr>
              <a:t>Age: 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>
                <a:cs typeface="Segoe UI Semibold"/>
              </a:rPr>
              <a:t>Interests: Art exhibitions, poetry readings, cultural fes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>
                <a:cs typeface="Segoe UI Semibold"/>
              </a:rPr>
              <a:t>Behaviors: Actively seeks out events to attend with friends, and uses social media frequently.</a:t>
            </a:r>
          </a:p>
          <a:p>
            <a:r>
              <a:rPr lang="en-US" kern="0" dirty="0">
                <a:cs typeface="Segoe UI Semibold"/>
              </a:rPr>
              <a:t> </a:t>
            </a:r>
          </a:p>
          <a:p>
            <a:r>
              <a:rPr lang="en-US" kern="0" dirty="0">
                <a:cs typeface="Segoe UI Semibold"/>
              </a:rPr>
              <a:t>Goals: </a:t>
            </a:r>
            <a:r>
              <a:rPr lang="en-US" u="sng" kern="0" dirty="0">
                <a:cs typeface="Segoe UI Semibold"/>
              </a:rPr>
              <a:t>Expand her cultural horizons and meet like-minded individuals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74479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421214" y="1109436"/>
            <a:ext cx="6770786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800" b="0" i="0" u="none" strike="noStrike" kern="1200" cap="none" spc="30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Target Custom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421214" y="1869168"/>
            <a:ext cx="6056086" cy="280076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0" dirty="0" err="1">
                <a:solidFill>
                  <a:srgbClr val="F5F6FA"/>
                </a:solidFill>
                <a:latin typeface="Segoe UI Semibold"/>
                <a:cs typeface="Segoe UI Semibold"/>
              </a:rPr>
              <a:t>Mr.Pitt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Segoe UI Semibold"/>
              </a:rPr>
              <a:t>, the Owner of ‘Knead for speed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ge: 52 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Interests: Hosting themed evenings </a:t>
            </a:r>
            <a:r>
              <a:rPr lang="en-US" dirty="0">
                <a:solidFill>
                  <a:srgbClr val="F5F6FA"/>
                </a:solidFill>
                <a:latin typeface="Segoe UI Semibold"/>
              </a:rPr>
              <a:t>and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exotic coffee-tasting sessions. 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Behaviors: Struggles with marketing his events and relies on word of mouth.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F5F6FA"/>
              </a:solidFill>
              <a:latin typeface="Segoe UI Semi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Goals: Increase footfall in his cafe and become a popular student hangout spot. </a:t>
            </a:r>
            <a:endParaRPr kumimoji="0" lang="de-DE" altLang="de-DE" b="0" i="0" u="none" strike="noStrike" kern="1200" cap="none" spc="0" normalizeH="0" baseline="0" noProof="0" dirty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67" b="16667"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rgbClr val="7030A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dirty="0" err="1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34C31449-A6DD-47DD-912E-64882D9E16C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3" r="17153"/>
          <a:stretch/>
        </p:blipFill>
        <p:spPr>
          <a:xfrm>
            <a:off x="549010" y="814036"/>
            <a:ext cx="4476626" cy="458746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BB8E33E-E5C6-1493-6F23-0CA1EF5D3154}"/>
              </a:ext>
            </a:extLst>
          </p:cNvPr>
          <p:cNvSpPr txBox="1"/>
          <p:nvPr/>
        </p:nvSpPr>
        <p:spPr>
          <a:xfrm>
            <a:off x="1469558" y="5606843"/>
            <a:ext cx="2329869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800" b="0" i="0" u="none" strike="noStrike" kern="1200" cap="none" spc="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BREAD PIT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2709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463DC58-D4E5-068E-88EA-356FFA76C8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463DC58-D4E5-068E-88EA-356FFA76C8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3577D7D-08F5-3CC7-FECA-5338E96EECEC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5BA389-C1EB-039A-A167-5C87C89561A1}"/>
              </a:ext>
            </a:extLst>
          </p:cNvPr>
          <p:cNvSpPr/>
          <p:nvPr/>
        </p:nvSpPr>
        <p:spPr>
          <a:xfrm>
            <a:off x="5500914" y="1374241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7DB9518-6243-E4B3-934F-78A356695D7C}"/>
              </a:ext>
            </a:extLst>
          </p:cNvPr>
          <p:cNvSpPr txBox="1"/>
          <p:nvPr/>
        </p:nvSpPr>
        <p:spPr>
          <a:xfrm>
            <a:off x="5905429" y="3152001"/>
            <a:ext cx="542070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sz="3600" dirty="0">
                <a:solidFill>
                  <a:srgbClr val="F5F6FA"/>
                </a:solidFill>
                <a:latin typeface="Segoe UI Black"/>
              </a:rPr>
              <a:t>OUR COMPETITORS </a:t>
            </a:r>
            <a:endParaRPr kumimoji="0" lang="de-DE" altLang="de-DE" sz="3600" b="0" i="0" u="none" strike="noStrike" kern="1200" cap="none" spc="0" normalizeH="0" baseline="0" noProof="0" dirty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Black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C1A78BD-40CA-1A03-3C3D-111B4C068940}"/>
              </a:ext>
            </a:extLst>
          </p:cNvPr>
          <p:cNvSpPr txBox="1">
            <a:spLocks/>
          </p:cNvSpPr>
          <p:nvPr/>
        </p:nvSpPr>
        <p:spPr>
          <a:xfrm>
            <a:off x="1384300" y="2176780"/>
            <a:ext cx="3914357" cy="2504440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8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25000" b="0" i="0" u="none" strike="noStrike" kern="0" cap="none" spc="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Black"/>
                <a:ea typeface="+mn-ea"/>
                <a:cs typeface="+mn-cs"/>
              </a:rPr>
              <a:t>0</a:t>
            </a:r>
            <a:r>
              <a:rPr lang="en-US" sz="25000" dirty="0">
                <a:solidFill>
                  <a:srgbClr val="F5F6FA"/>
                </a:solidFill>
                <a:latin typeface="Segoe UI Black"/>
              </a:rPr>
              <a:t>5</a:t>
            </a:r>
            <a:endParaRPr kumimoji="0" lang="en-US" sz="25000" b="0" i="0" u="none" strike="noStrike" kern="0" cap="none" spc="0" normalizeH="0" baseline="0" noProof="0" dirty="0">
              <a:ln>
                <a:noFill/>
              </a:ln>
              <a:solidFill>
                <a:srgbClr val="00A8FF"/>
              </a:solidFill>
              <a:effectLst/>
              <a:uLnTx/>
              <a:uFillTx/>
              <a:latin typeface="Segoe UI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8494182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2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>
            <a:extLst>
              <a:ext uri="{FF2B5EF4-FFF2-40B4-BE49-F238E27FC236}">
                <a16:creationId xmlns:a16="http://schemas.microsoft.com/office/drawing/2014/main" id="{536D3447-2026-6091-11EC-E47083AF3356}"/>
              </a:ext>
            </a:extLst>
          </p:cNvPr>
          <p:cNvGrpSpPr/>
          <p:nvPr/>
        </p:nvGrpSpPr>
        <p:grpSpPr>
          <a:xfrm>
            <a:off x="360712" y="1039460"/>
            <a:ext cx="11421714" cy="4661543"/>
            <a:chOff x="360712" y="1039460"/>
            <a:chExt cx="11421714" cy="4661543"/>
          </a:xfrm>
        </p:grpSpPr>
        <p:grpSp>
          <p:nvGrpSpPr>
            <p:cNvPr id="2" name="Group 2"/>
            <p:cNvGrpSpPr/>
            <p:nvPr/>
          </p:nvGrpSpPr>
          <p:grpSpPr>
            <a:xfrm>
              <a:off x="360712" y="2888307"/>
              <a:ext cx="2689875" cy="1958239"/>
              <a:chOff x="0" y="0"/>
              <a:chExt cx="1190888" cy="921832"/>
            </a:xfrm>
          </p:grpSpPr>
          <p:sp>
            <p:nvSpPr>
              <p:cNvPr id="3" name="Freeform 3"/>
              <p:cNvSpPr/>
              <p:nvPr/>
            </p:nvSpPr>
            <p:spPr>
              <a:xfrm>
                <a:off x="0" y="0"/>
                <a:ext cx="1190888" cy="921832"/>
              </a:xfrm>
              <a:custGeom>
                <a:avLst/>
                <a:gdLst/>
                <a:ahLst/>
                <a:cxnLst/>
                <a:rect l="l" t="t" r="r" b="b"/>
                <a:pathLst>
                  <a:path w="1190888" h="921832">
                    <a:moveTo>
                      <a:pt x="1066428" y="921832"/>
                    </a:moveTo>
                    <a:lnTo>
                      <a:pt x="124460" y="921832"/>
                    </a:lnTo>
                    <a:cubicBezTo>
                      <a:pt x="55880" y="921832"/>
                      <a:pt x="0" y="865952"/>
                      <a:pt x="0" y="797372"/>
                    </a:cubicBezTo>
                    <a:lnTo>
                      <a:pt x="0" y="124460"/>
                    </a:lnTo>
                    <a:cubicBezTo>
                      <a:pt x="0" y="55880"/>
                      <a:pt x="55880" y="0"/>
                      <a:pt x="124460" y="0"/>
                    </a:cubicBezTo>
                    <a:lnTo>
                      <a:pt x="1066428" y="0"/>
                    </a:lnTo>
                    <a:cubicBezTo>
                      <a:pt x="1135008" y="0"/>
                      <a:pt x="1190888" y="55880"/>
                      <a:pt x="1190888" y="124460"/>
                    </a:cubicBezTo>
                    <a:lnTo>
                      <a:pt x="1190888" y="797372"/>
                    </a:lnTo>
                    <a:cubicBezTo>
                      <a:pt x="1190888" y="865952"/>
                      <a:pt x="1135008" y="921832"/>
                      <a:pt x="1066428" y="921832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US" sz="1200"/>
              </a:p>
            </p:txBody>
          </p:sp>
        </p:grpSp>
        <p:grpSp>
          <p:nvGrpSpPr>
            <p:cNvPr id="4" name="Group 4"/>
            <p:cNvGrpSpPr/>
            <p:nvPr/>
          </p:nvGrpSpPr>
          <p:grpSpPr>
            <a:xfrm>
              <a:off x="3271326" y="2888307"/>
              <a:ext cx="2689875" cy="1958239"/>
              <a:chOff x="0" y="0"/>
              <a:chExt cx="1190888" cy="921832"/>
            </a:xfrm>
          </p:grpSpPr>
          <p:sp>
            <p:nvSpPr>
              <p:cNvPr id="5" name="Freeform 5"/>
              <p:cNvSpPr/>
              <p:nvPr/>
            </p:nvSpPr>
            <p:spPr>
              <a:xfrm>
                <a:off x="0" y="0"/>
                <a:ext cx="1190888" cy="921832"/>
              </a:xfrm>
              <a:custGeom>
                <a:avLst/>
                <a:gdLst/>
                <a:ahLst/>
                <a:cxnLst/>
                <a:rect l="l" t="t" r="r" b="b"/>
                <a:pathLst>
                  <a:path w="1190888" h="921832">
                    <a:moveTo>
                      <a:pt x="1066428" y="921832"/>
                    </a:moveTo>
                    <a:lnTo>
                      <a:pt x="124460" y="921832"/>
                    </a:lnTo>
                    <a:cubicBezTo>
                      <a:pt x="55880" y="921832"/>
                      <a:pt x="0" y="865952"/>
                      <a:pt x="0" y="797372"/>
                    </a:cubicBezTo>
                    <a:lnTo>
                      <a:pt x="0" y="124460"/>
                    </a:lnTo>
                    <a:cubicBezTo>
                      <a:pt x="0" y="55880"/>
                      <a:pt x="55880" y="0"/>
                      <a:pt x="124460" y="0"/>
                    </a:cubicBezTo>
                    <a:lnTo>
                      <a:pt x="1066428" y="0"/>
                    </a:lnTo>
                    <a:cubicBezTo>
                      <a:pt x="1135008" y="0"/>
                      <a:pt x="1190888" y="55880"/>
                      <a:pt x="1190888" y="124460"/>
                    </a:cubicBezTo>
                    <a:lnTo>
                      <a:pt x="1190888" y="797372"/>
                    </a:lnTo>
                    <a:cubicBezTo>
                      <a:pt x="1190888" y="865952"/>
                      <a:pt x="1135008" y="921832"/>
                      <a:pt x="1066428" y="921832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US" sz="1200"/>
              </a:p>
            </p:txBody>
          </p:sp>
        </p:grpSp>
        <p:grpSp>
          <p:nvGrpSpPr>
            <p:cNvPr id="6" name="Group 6"/>
            <p:cNvGrpSpPr/>
            <p:nvPr/>
          </p:nvGrpSpPr>
          <p:grpSpPr>
            <a:xfrm>
              <a:off x="6181938" y="2888306"/>
              <a:ext cx="2689875" cy="2812697"/>
              <a:chOff x="0" y="0"/>
              <a:chExt cx="1190888" cy="1236492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1190888" cy="1236492"/>
              </a:xfrm>
              <a:custGeom>
                <a:avLst/>
                <a:gdLst/>
                <a:ahLst/>
                <a:cxnLst/>
                <a:rect l="l" t="t" r="r" b="b"/>
                <a:pathLst>
                  <a:path w="1190888" h="1236492">
                    <a:moveTo>
                      <a:pt x="1066428" y="1236492"/>
                    </a:moveTo>
                    <a:lnTo>
                      <a:pt x="124460" y="1236492"/>
                    </a:lnTo>
                    <a:cubicBezTo>
                      <a:pt x="55880" y="1236492"/>
                      <a:pt x="0" y="1180612"/>
                      <a:pt x="0" y="1112032"/>
                    </a:cubicBezTo>
                    <a:lnTo>
                      <a:pt x="0" y="124460"/>
                    </a:lnTo>
                    <a:cubicBezTo>
                      <a:pt x="0" y="55880"/>
                      <a:pt x="55880" y="0"/>
                      <a:pt x="124460" y="0"/>
                    </a:cubicBezTo>
                    <a:lnTo>
                      <a:pt x="1066428" y="0"/>
                    </a:lnTo>
                    <a:cubicBezTo>
                      <a:pt x="1135008" y="0"/>
                      <a:pt x="1190888" y="55880"/>
                      <a:pt x="1190888" y="124460"/>
                    </a:cubicBezTo>
                    <a:lnTo>
                      <a:pt x="1190888" y="1112032"/>
                    </a:lnTo>
                    <a:cubicBezTo>
                      <a:pt x="1190888" y="1180612"/>
                      <a:pt x="1135008" y="1236492"/>
                      <a:pt x="1066428" y="1236492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US" sz="1200"/>
              </a:p>
            </p:txBody>
          </p:sp>
        </p:grpSp>
        <p:grpSp>
          <p:nvGrpSpPr>
            <p:cNvPr id="8" name="Group 8"/>
            <p:cNvGrpSpPr/>
            <p:nvPr/>
          </p:nvGrpSpPr>
          <p:grpSpPr>
            <a:xfrm>
              <a:off x="9092551" y="2888307"/>
              <a:ext cx="2689875" cy="2812696"/>
              <a:chOff x="0" y="0"/>
              <a:chExt cx="1190888" cy="1236492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0" y="0"/>
                <a:ext cx="1190888" cy="1236492"/>
              </a:xfrm>
              <a:custGeom>
                <a:avLst/>
                <a:gdLst/>
                <a:ahLst/>
                <a:cxnLst/>
                <a:rect l="l" t="t" r="r" b="b"/>
                <a:pathLst>
                  <a:path w="1190888" h="1236492">
                    <a:moveTo>
                      <a:pt x="1066428" y="1236492"/>
                    </a:moveTo>
                    <a:lnTo>
                      <a:pt x="124460" y="1236492"/>
                    </a:lnTo>
                    <a:cubicBezTo>
                      <a:pt x="55880" y="1236492"/>
                      <a:pt x="0" y="1180612"/>
                      <a:pt x="0" y="1112032"/>
                    </a:cubicBezTo>
                    <a:lnTo>
                      <a:pt x="0" y="124460"/>
                    </a:lnTo>
                    <a:cubicBezTo>
                      <a:pt x="0" y="55880"/>
                      <a:pt x="55880" y="0"/>
                      <a:pt x="124460" y="0"/>
                    </a:cubicBezTo>
                    <a:lnTo>
                      <a:pt x="1066428" y="0"/>
                    </a:lnTo>
                    <a:cubicBezTo>
                      <a:pt x="1135008" y="0"/>
                      <a:pt x="1190888" y="55880"/>
                      <a:pt x="1190888" y="124460"/>
                    </a:cubicBezTo>
                    <a:lnTo>
                      <a:pt x="1190888" y="1112032"/>
                    </a:lnTo>
                    <a:cubicBezTo>
                      <a:pt x="1190888" y="1180612"/>
                      <a:pt x="1135008" y="1236492"/>
                      <a:pt x="1066428" y="1236492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endParaRPr lang="en-US" sz="1200"/>
              </a:p>
            </p:txBody>
          </p:sp>
        </p:grpSp>
        <p:grpSp>
          <p:nvGrpSpPr>
            <p:cNvPr id="10" name="Group 10"/>
            <p:cNvGrpSpPr/>
            <p:nvPr/>
          </p:nvGrpSpPr>
          <p:grpSpPr>
            <a:xfrm>
              <a:off x="788417" y="1039460"/>
              <a:ext cx="1834465" cy="1725289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0" y="0"/>
                <a:ext cx="6350000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6350000">
                    <a:moveTo>
                      <a:pt x="3175000" y="0"/>
                    </a:moveTo>
                    <a:cubicBezTo>
                      <a:pt x="1421496" y="0"/>
                      <a:pt x="0" y="1421496"/>
                      <a:pt x="0" y="3175000"/>
                    </a:cubicBezTo>
                    <a:cubicBezTo>
                      <a:pt x="0" y="4928504"/>
                      <a:pt x="1421496" y="6350000"/>
                      <a:pt x="3175000" y="6350000"/>
                    </a:cubicBezTo>
                    <a:cubicBezTo>
                      <a:pt x="4928504" y="6350000"/>
                      <a:pt x="6350000" y="4928504"/>
                      <a:pt x="6350000" y="3175000"/>
                    </a:cubicBezTo>
                    <a:cubicBezTo>
                      <a:pt x="6350000" y="1421496"/>
                      <a:pt x="4928504" y="0"/>
                      <a:pt x="3175000" y="0"/>
                    </a:cubicBezTo>
                    <a:close/>
                  </a:path>
                </a:pathLst>
              </a:custGeom>
              <a:solidFill>
                <a:srgbClr val="00BF63"/>
              </a:solidFill>
            </p:spPr>
            <p:txBody>
              <a:bodyPr/>
              <a:lstStyle/>
              <a:p>
                <a:endParaRPr lang="en-US" sz="1200"/>
              </a:p>
            </p:txBody>
          </p:sp>
        </p:grpSp>
        <p:grpSp>
          <p:nvGrpSpPr>
            <p:cNvPr id="12" name="Group 12"/>
            <p:cNvGrpSpPr/>
            <p:nvPr/>
          </p:nvGrpSpPr>
          <p:grpSpPr>
            <a:xfrm>
              <a:off x="3699030" y="1039460"/>
              <a:ext cx="1834465" cy="1725289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0" y="0"/>
                <a:ext cx="6350000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6350000">
                    <a:moveTo>
                      <a:pt x="3175000" y="0"/>
                    </a:moveTo>
                    <a:cubicBezTo>
                      <a:pt x="1421496" y="0"/>
                      <a:pt x="0" y="1421496"/>
                      <a:pt x="0" y="3175000"/>
                    </a:cubicBezTo>
                    <a:cubicBezTo>
                      <a:pt x="0" y="4928504"/>
                      <a:pt x="1421496" y="6350000"/>
                      <a:pt x="3175000" y="6350000"/>
                    </a:cubicBezTo>
                    <a:cubicBezTo>
                      <a:pt x="4928504" y="6350000"/>
                      <a:pt x="6350000" y="4928504"/>
                      <a:pt x="6350000" y="3175000"/>
                    </a:cubicBezTo>
                    <a:cubicBezTo>
                      <a:pt x="6350000" y="1421496"/>
                      <a:pt x="4928504" y="0"/>
                      <a:pt x="3175000" y="0"/>
                    </a:cubicBezTo>
                    <a:close/>
                  </a:path>
                </a:pathLst>
              </a:custGeom>
              <a:solidFill>
                <a:srgbClr val="FFDE59"/>
              </a:solidFill>
            </p:spPr>
            <p:txBody>
              <a:bodyPr/>
              <a:lstStyle/>
              <a:p>
                <a:endParaRPr lang="en-US" sz="1200"/>
              </a:p>
            </p:txBody>
          </p:sp>
        </p:grpSp>
        <p:grpSp>
          <p:nvGrpSpPr>
            <p:cNvPr id="14" name="Group 14"/>
            <p:cNvGrpSpPr/>
            <p:nvPr/>
          </p:nvGrpSpPr>
          <p:grpSpPr>
            <a:xfrm>
              <a:off x="6609642" y="1039460"/>
              <a:ext cx="1834465" cy="1725289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0" y="0"/>
                <a:ext cx="6350000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6350000">
                    <a:moveTo>
                      <a:pt x="3175000" y="0"/>
                    </a:moveTo>
                    <a:cubicBezTo>
                      <a:pt x="1421496" y="0"/>
                      <a:pt x="0" y="1421496"/>
                      <a:pt x="0" y="3175000"/>
                    </a:cubicBezTo>
                    <a:cubicBezTo>
                      <a:pt x="0" y="4928504"/>
                      <a:pt x="1421496" y="6350000"/>
                      <a:pt x="3175000" y="6350000"/>
                    </a:cubicBezTo>
                    <a:cubicBezTo>
                      <a:pt x="4928504" y="6350000"/>
                      <a:pt x="6350000" y="4928504"/>
                      <a:pt x="6350000" y="3175000"/>
                    </a:cubicBezTo>
                    <a:cubicBezTo>
                      <a:pt x="6350000" y="1421496"/>
                      <a:pt x="4928504" y="0"/>
                      <a:pt x="3175000" y="0"/>
                    </a:cubicBezTo>
                    <a:close/>
                  </a:path>
                </a:pathLst>
              </a:custGeom>
              <a:solidFill>
                <a:srgbClr val="5CE1E6"/>
              </a:solidFill>
            </p:spPr>
            <p:txBody>
              <a:bodyPr/>
              <a:lstStyle/>
              <a:p>
                <a:endParaRPr lang="en-US" sz="1200"/>
              </a:p>
            </p:txBody>
          </p:sp>
        </p:grpSp>
        <p:grpSp>
          <p:nvGrpSpPr>
            <p:cNvPr id="16" name="Group 16"/>
            <p:cNvGrpSpPr/>
            <p:nvPr/>
          </p:nvGrpSpPr>
          <p:grpSpPr>
            <a:xfrm>
              <a:off x="9520256" y="1039460"/>
              <a:ext cx="1834465" cy="1725289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0" y="0"/>
                <a:ext cx="6350000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6350000">
                    <a:moveTo>
                      <a:pt x="3175000" y="0"/>
                    </a:moveTo>
                    <a:cubicBezTo>
                      <a:pt x="1421496" y="0"/>
                      <a:pt x="0" y="1421496"/>
                      <a:pt x="0" y="3175000"/>
                    </a:cubicBezTo>
                    <a:cubicBezTo>
                      <a:pt x="0" y="4928504"/>
                      <a:pt x="1421496" y="6350000"/>
                      <a:pt x="3175000" y="6350000"/>
                    </a:cubicBezTo>
                    <a:cubicBezTo>
                      <a:pt x="4928504" y="6350000"/>
                      <a:pt x="6350000" y="4928504"/>
                      <a:pt x="6350000" y="3175000"/>
                    </a:cubicBezTo>
                    <a:cubicBezTo>
                      <a:pt x="6350000" y="1421496"/>
                      <a:pt x="4928504" y="0"/>
                      <a:pt x="3175000" y="0"/>
                    </a:cubicBezTo>
                    <a:close/>
                  </a:path>
                </a:pathLst>
              </a:custGeom>
              <a:solidFill>
                <a:srgbClr val="FF3131"/>
              </a:solidFill>
            </p:spPr>
            <p:txBody>
              <a:bodyPr/>
              <a:lstStyle/>
              <a:p>
                <a:endParaRPr lang="en-US" sz="1200"/>
              </a:p>
            </p:txBody>
          </p:sp>
        </p:grpSp>
        <p:sp>
          <p:nvSpPr>
            <p:cNvPr id="18" name="TextBox 18"/>
            <p:cNvSpPr txBox="1"/>
            <p:nvPr/>
          </p:nvSpPr>
          <p:spPr>
            <a:xfrm>
              <a:off x="788417" y="1079042"/>
              <a:ext cx="1834465" cy="150842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2905"/>
                </a:lnSpc>
                <a:spcBef>
                  <a:spcPct val="0"/>
                </a:spcBef>
              </a:pPr>
              <a:r>
                <a:rPr lang="en-US" sz="9218" dirty="0">
                  <a:solidFill>
                    <a:srgbClr val="FFFFFF"/>
                  </a:solidFill>
                </a:rPr>
                <a:t>S</a:t>
              </a:r>
            </a:p>
          </p:txBody>
        </p:sp>
        <p:sp>
          <p:nvSpPr>
            <p:cNvPr id="19" name="TextBox 19"/>
            <p:cNvSpPr txBox="1"/>
            <p:nvPr/>
          </p:nvSpPr>
          <p:spPr>
            <a:xfrm>
              <a:off x="547303" y="3080760"/>
              <a:ext cx="2316694" cy="417935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3520"/>
                </a:lnSpc>
                <a:spcBef>
                  <a:spcPct val="0"/>
                </a:spcBef>
              </a:pPr>
              <a:r>
                <a:rPr lang="en-US" sz="2800" dirty="0">
                  <a:solidFill>
                    <a:srgbClr val="000000"/>
                  </a:solidFill>
                </a:rPr>
                <a:t>Strength</a:t>
              </a:r>
              <a:endParaRPr lang="en-US" sz="2514" dirty="0">
                <a:solidFill>
                  <a:srgbClr val="000000"/>
                </a:solidFill>
              </a:endParaRPr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547302" y="3566976"/>
              <a:ext cx="2313375" cy="116891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482492" lvl="1" indent="-241246">
                <a:lnSpc>
                  <a:spcPts val="3128"/>
                </a:lnSpc>
                <a:buFont typeface="Arial"/>
                <a:buChar char="•"/>
              </a:pPr>
              <a:r>
                <a:rPr lang="en-US" sz="2000" dirty="0">
                  <a:solidFill>
                    <a:srgbClr val="000000"/>
                  </a:solidFill>
                </a:rPr>
                <a:t>Niche focus</a:t>
              </a:r>
            </a:p>
            <a:p>
              <a:pPr marL="482492" lvl="1" indent="-241246">
                <a:lnSpc>
                  <a:spcPts val="3128"/>
                </a:lnSpc>
                <a:buFont typeface="Arial"/>
                <a:buChar char="•"/>
              </a:pPr>
              <a:r>
                <a:rPr lang="en-US" sz="2000" dirty="0">
                  <a:solidFill>
                    <a:srgbClr val="000000"/>
                  </a:solidFill>
                </a:rPr>
                <a:t>local partnerships</a:t>
              </a:r>
            </a:p>
          </p:txBody>
        </p:sp>
        <p:sp>
          <p:nvSpPr>
            <p:cNvPr id="21" name="TextBox 21"/>
            <p:cNvSpPr txBox="1"/>
            <p:nvPr/>
          </p:nvSpPr>
          <p:spPr>
            <a:xfrm>
              <a:off x="3457915" y="3080760"/>
              <a:ext cx="2316694" cy="417935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3520"/>
                </a:lnSpc>
                <a:spcBef>
                  <a:spcPct val="0"/>
                </a:spcBef>
              </a:pPr>
              <a:r>
                <a:rPr lang="en-US" sz="2800" dirty="0">
                  <a:solidFill>
                    <a:srgbClr val="000000"/>
                  </a:solidFill>
                </a:rPr>
                <a:t>Weaknesses</a:t>
              </a:r>
              <a:endParaRPr lang="en-US" sz="2514" dirty="0">
                <a:solidFill>
                  <a:srgbClr val="000000"/>
                </a:solidFill>
              </a:endParaRPr>
            </a:p>
          </p:txBody>
        </p:sp>
        <p:sp>
          <p:nvSpPr>
            <p:cNvPr id="22" name="TextBox 22"/>
            <p:cNvSpPr txBox="1"/>
            <p:nvPr/>
          </p:nvSpPr>
          <p:spPr>
            <a:xfrm>
              <a:off x="3457915" y="3566976"/>
              <a:ext cx="2316694" cy="115813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482492" lvl="1" indent="-241246">
                <a:lnSpc>
                  <a:spcPts val="3128"/>
                </a:lnSpc>
                <a:buFont typeface="Arial"/>
                <a:buChar char="•"/>
              </a:pPr>
              <a:r>
                <a:rPr lang="en-US" sz="2000" dirty="0">
                  <a:solidFill>
                    <a:srgbClr val="000000"/>
                  </a:solidFill>
                </a:rPr>
                <a:t>New entrant</a:t>
              </a:r>
            </a:p>
            <a:p>
              <a:pPr marL="482492" lvl="1" indent="-241246">
                <a:lnSpc>
                  <a:spcPts val="3128"/>
                </a:lnSpc>
                <a:buFont typeface="Arial"/>
                <a:buChar char="•"/>
              </a:pPr>
              <a:r>
                <a:rPr lang="en-US" sz="2000" dirty="0">
                  <a:solidFill>
                    <a:srgbClr val="000000"/>
                  </a:solidFill>
                </a:rPr>
                <a:t>Reliance on local content</a:t>
              </a:r>
            </a:p>
          </p:txBody>
        </p:sp>
        <p:sp>
          <p:nvSpPr>
            <p:cNvPr id="23" name="TextBox 23"/>
            <p:cNvSpPr txBox="1"/>
            <p:nvPr/>
          </p:nvSpPr>
          <p:spPr>
            <a:xfrm>
              <a:off x="6237994" y="3080760"/>
              <a:ext cx="2577761" cy="417935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3520"/>
                </a:lnSpc>
                <a:spcBef>
                  <a:spcPct val="0"/>
                </a:spcBef>
              </a:pPr>
              <a:r>
                <a:rPr lang="en-US" sz="2800" dirty="0">
                  <a:solidFill>
                    <a:srgbClr val="000000"/>
                  </a:solidFill>
                </a:rPr>
                <a:t>Opportunities</a:t>
              </a:r>
              <a:endParaRPr lang="en-US" sz="2514" dirty="0">
                <a:solidFill>
                  <a:srgbClr val="000000"/>
                </a:solidFill>
              </a:endParaRPr>
            </a:p>
          </p:txBody>
        </p:sp>
        <p:sp>
          <p:nvSpPr>
            <p:cNvPr id="24" name="TextBox 24"/>
            <p:cNvSpPr txBox="1"/>
            <p:nvPr/>
          </p:nvSpPr>
          <p:spPr>
            <a:xfrm>
              <a:off x="6376306" y="3566976"/>
              <a:ext cx="2301138" cy="195322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482492" lvl="1" indent="-241246">
                <a:lnSpc>
                  <a:spcPts val="3128"/>
                </a:lnSpc>
                <a:buFont typeface="Arial"/>
                <a:buChar char="•"/>
              </a:pPr>
              <a:r>
                <a:rPr lang="en-US" sz="2000" dirty="0">
                  <a:solidFill>
                    <a:srgbClr val="000000"/>
                  </a:solidFill>
                </a:rPr>
                <a:t>Expansion to other cities</a:t>
              </a:r>
            </a:p>
            <a:p>
              <a:pPr marL="482492" lvl="1" indent="-241246">
                <a:lnSpc>
                  <a:spcPts val="3128"/>
                </a:lnSpc>
                <a:buFont typeface="Arial"/>
                <a:buChar char="•"/>
              </a:pPr>
              <a:r>
                <a:rPr lang="en-US" sz="2000" dirty="0">
                  <a:solidFill>
                    <a:srgbClr val="000000"/>
                  </a:solidFill>
                </a:rPr>
                <a:t>Integration with other platforms</a:t>
              </a:r>
            </a:p>
          </p:txBody>
        </p:sp>
        <p:sp>
          <p:nvSpPr>
            <p:cNvPr id="25" name="TextBox 25"/>
            <p:cNvSpPr txBox="1"/>
            <p:nvPr/>
          </p:nvSpPr>
          <p:spPr>
            <a:xfrm>
              <a:off x="9279142" y="3080760"/>
              <a:ext cx="2316694" cy="417935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3520"/>
                </a:lnSpc>
                <a:spcBef>
                  <a:spcPct val="0"/>
                </a:spcBef>
              </a:pPr>
              <a:r>
                <a:rPr lang="en-US" sz="2800" dirty="0">
                  <a:solidFill>
                    <a:srgbClr val="000000"/>
                  </a:solidFill>
                </a:rPr>
                <a:t>Threats</a:t>
              </a:r>
              <a:endParaRPr lang="en-US" sz="2514" dirty="0">
                <a:solidFill>
                  <a:srgbClr val="000000"/>
                </a:solidFill>
              </a:endParaRPr>
            </a:p>
          </p:txBody>
        </p:sp>
        <p:sp>
          <p:nvSpPr>
            <p:cNvPr id="26" name="TextBox 26"/>
            <p:cNvSpPr txBox="1"/>
            <p:nvPr/>
          </p:nvSpPr>
          <p:spPr>
            <a:xfrm>
              <a:off x="9279142" y="3566976"/>
              <a:ext cx="2503284" cy="195322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482492" lvl="1" indent="-241246">
                <a:lnSpc>
                  <a:spcPts val="3128"/>
                </a:lnSpc>
                <a:buFont typeface="Arial"/>
                <a:buChar char="•"/>
              </a:pPr>
              <a:r>
                <a:rPr lang="en-US" sz="2000" dirty="0">
                  <a:solidFill>
                    <a:srgbClr val="000000"/>
                  </a:solidFill>
                </a:rPr>
                <a:t>Established competitors</a:t>
              </a:r>
            </a:p>
            <a:p>
              <a:pPr marL="482492" lvl="1" indent="-241246">
                <a:lnSpc>
                  <a:spcPts val="3128"/>
                </a:lnSpc>
                <a:buFont typeface="Arial"/>
                <a:buChar char="•"/>
              </a:pPr>
              <a:r>
                <a:rPr lang="en-US" sz="2000" dirty="0">
                  <a:solidFill>
                    <a:srgbClr val="000000"/>
                  </a:solidFill>
                </a:rPr>
                <a:t>Changing student behaviors</a:t>
              </a:r>
            </a:p>
          </p:txBody>
        </p:sp>
        <p:sp>
          <p:nvSpPr>
            <p:cNvPr id="27" name="TextBox 27"/>
            <p:cNvSpPr txBox="1"/>
            <p:nvPr/>
          </p:nvSpPr>
          <p:spPr>
            <a:xfrm>
              <a:off x="3699030" y="1079042"/>
              <a:ext cx="1834465" cy="150842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2905"/>
                </a:lnSpc>
                <a:spcBef>
                  <a:spcPct val="0"/>
                </a:spcBef>
              </a:pPr>
              <a:r>
                <a:rPr lang="en-US" sz="9218" dirty="0">
                  <a:solidFill>
                    <a:srgbClr val="FFFFFF"/>
                  </a:solidFill>
                </a:rPr>
                <a:t>W</a:t>
              </a:r>
            </a:p>
          </p:txBody>
        </p:sp>
        <p:sp>
          <p:nvSpPr>
            <p:cNvPr id="28" name="TextBox 28"/>
            <p:cNvSpPr txBox="1"/>
            <p:nvPr/>
          </p:nvSpPr>
          <p:spPr>
            <a:xfrm>
              <a:off x="6609642" y="1079042"/>
              <a:ext cx="1834465" cy="150842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2905"/>
                </a:lnSpc>
                <a:spcBef>
                  <a:spcPct val="0"/>
                </a:spcBef>
              </a:pPr>
              <a:r>
                <a:rPr lang="en-US" sz="9218" dirty="0">
                  <a:solidFill>
                    <a:srgbClr val="FFFFFF"/>
                  </a:solidFill>
                </a:rPr>
                <a:t>O</a:t>
              </a:r>
            </a:p>
          </p:txBody>
        </p:sp>
        <p:sp>
          <p:nvSpPr>
            <p:cNvPr id="29" name="TextBox 29"/>
            <p:cNvSpPr txBox="1"/>
            <p:nvPr/>
          </p:nvSpPr>
          <p:spPr>
            <a:xfrm>
              <a:off x="9520256" y="1079042"/>
              <a:ext cx="1834465" cy="150842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2905"/>
                </a:lnSpc>
                <a:spcBef>
                  <a:spcPct val="0"/>
                </a:spcBef>
              </a:pPr>
              <a:r>
                <a:rPr lang="en-US" sz="9218" dirty="0">
                  <a:solidFill>
                    <a:srgbClr val="FFFFFF"/>
                  </a:solidFill>
                </a:rPr>
                <a:t>T</a:t>
              </a:r>
            </a:p>
          </p:txBody>
        </p:sp>
      </p:grpSp>
    </p:spTree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463DC58-D4E5-068E-88EA-356FFA76C8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463DC58-D4E5-068E-88EA-356FFA76C8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3577D7D-08F5-3CC7-FECA-5338E96EECEC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5BA389-C1EB-039A-A167-5C87C89561A1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7DB9518-6243-E4B3-934F-78A356695D7C}"/>
              </a:ext>
            </a:extLst>
          </p:cNvPr>
          <p:cNvSpPr txBox="1"/>
          <p:nvPr/>
        </p:nvSpPr>
        <p:spPr>
          <a:xfrm>
            <a:off x="5905429" y="3152001"/>
            <a:ext cx="5420703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sz="3600" dirty="0">
                <a:solidFill>
                  <a:srgbClr val="F5F6FA"/>
                </a:solidFill>
                <a:latin typeface="Segoe UI Black"/>
              </a:rPr>
              <a:t>OUR</a:t>
            </a:r>
            <a:r>
              <a:rPr kumimoji="0" lang="de-DE" altLang="de-DE" sz="3600" b="0" i="0" u="none" strike="noStrike" kern="1200" cap="none" spc="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Black"/>
                <a:ea typeface="+mn-ea"/>
                <a:cs typeface="+mn-cs"/>
              </a:rPr>
              <a:t> INTRODUCTION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C1A78BD-40CA-1A03-3C3D-111B4C068940}"/>
              </a:ext>
            </a:extLst>
          </p:cNvPr>
          <p:cNvSpPr txBox="1">
            <a:spLocks/>
          </p:cNvSpPr>
          <p:nvPr/>
        </p:nvSpPr>
        <p:spPr>
          <a:xfrm>
            <a:off x="1448017" y="2176780"/>
            <a:ext cx="3850640" cy="2504440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8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25000" b="0" i="0" u="none" strike="noStrike" kern="0" cap="none" spc="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Black"/>
                <a:ea typeface="+mn-ea"/>
                <a:cs typeface="+mn-cs"/>
              </a:rPr>
              <a:t>01</a:t>
            </a:r>
            <a:endParaRPr kumimoji="0" lang="en-US" sz="25000" b="0" i="0" u="none" strike="noStrike" kern="0" cap="none" spc="0" normalizeH="0" baseline="0" noProof="0" dirty="0">
              <a:ln>
                <a:noFill/>
              </a:ln>
              <a:solidFill>
                <a:srgbClr val="00A8FF"/>
              </a:solidFill>
              <a:effectLst/>
              <a:uLnTx/>
              <a:uFillTx/>
              <a:latin typeface="Segoe UI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4524014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2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white and blue table with blue check marks&#10;&#10;Description automatically generated">
            <a:extLst>
              <a:ext uri="{FF2B5EF4-FFF2-40B4-BE49-F238E27FC236}">
                <a16:creationId xmlns:a16="http://schemas.microsoft.com/office/drawing/2014/main" id="{69E4981E-1721-72B7-D4F1-C865246C1F5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95" t="20001" r="10972" b="20000"/>
          <a:stretch/>
        </p:blipFill>
        <p:spPr>
          <a:xfrm>
            <a:off x="1939808" y="736600"/>
            <a:ext cx="8312385" cy="477520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463876168"/>
      </p:ext>
    </p:extLst>
  </p:cSld>
  <p:clrMapOvr>
    <a:masterClrMapping/>
  </p:clrMapOvr>
  <p:transition spd="slow">
    <p:push dir="u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463DC58-D4E5-068E-88EA-356FFA76C8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463DC58-D4E5-068E-88EA-356FFA76C8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3577D7D-08F5-3CC7-FECA-5338E96EECEC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5BA389-C1EB-039A-A167-5C87C89561A1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7DB9518-6243-E4B3-934F-78A356695D7C}"/>
              </a:ext>
            </a:extLst>
          </p:cNvPr>
          <p:cNvSpPr txBox="1"/>
          <p:nvPr/>
        </p:nvSpPr>
        <p:spPr>
          <a:xfrm>
            <a:off x="5905429" y="3152001"/>
            <a:ext cx="6189674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sz="3600" noProof="0" dirty="0">
                <a:solidFill>
                  <a:srgbClr val="F5F6FA"/>
                </a:solidFill>
                <a:latin typeface="Segoe UI Black"/>
              </a:rPr>
              <a:t>OUR </a:t>
            </a:r>
            <a:r>
              <a:rPr lang="de-DE" altLang="de-DE" sz="3600" dirty="0">
                <a:solidFill>
                  <a:srgbClr val="F5F6FA"/>
                </a:solidFill>
                <a:latin typeface="Segoe UI Black"/>
              </a:rPr>
              <a:t>VISION</a:t>
            </a:r>
            <a:endParaRPr kumimoji="0" lang="de-DE" altLang="de-DE" sz="3600" b="0" i="0" u="none" strike="noStrike" kern="1200" cap="none" spc="0" normalizeH="0" baseline="0" noProof="0" dirty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Black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C1A78BD-40CA-1A03-3C3D-111B4C068940}"/>
              </a:ext>
            </a:extLst>
          </p:cNvPr>
          <p:cNvSpPr txBox="1">
            <a:spLocks/>
          </p:cNvSpPr>
          <p:nvPr/>
        </p:nvSpPr>
        <p:spPr>
          <a:xfrm>
            <a:off x="1274605" y="2176780"/>
            <a:ext cx="4024052" cy="2504440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8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25000" b="0" i="0" u="none" strike="noStrike" kern="0" cap="none" spc="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Black"/>
                <a:ea typeface="+mn-ea"/>
                <a:cs typeface="+mn-cs"/>
              </a:rPr>
              <a:t>06</a:t>
            </a:r>
            <a:endParaRPr kumimoji="0" lang="en-US" sz="25000" b="0" i="0" u="none" strike="noStrike" kern="0" cap="none" spc="0" normalizeH="0" baseline="0" noProof="0" dirty="0">
              <a:ln>
                <a:noFill/>
              </a:ln>
              <a:solidFill>
                <a:srgbClr val="00A8FF"/>
              </a:solidFill>
              <a:effectLst/>
              <a:uLnTx/>
              <a:uFillTx/>
              <a:latin typeface="Segoe UI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4302591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2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5503536" y="0"/>
            <a:ext cx="1639269" cy="13771165"/>
            <a:chOff x="0" y="0"/>
            <a:chExt cx="3278538" cy="27542329"/>
          </a:xfrm>
        </p:grpSpPr>
        <p:sp>
          <p:nvSpPr>
            <p:cNvPr id="3" name="Freeform 3"/>
            <p:cNvSpPr/>
            <p:nvPr/>
          </p:nvSpPr>
          <p:spPr>
            <a:xfrm>
              <a:off x="0" y="18277658"/>
              <a:ext cx="3262342" cy="4694018"/>
            </a:xfrm>
            <a:custGeom>
              <a:avLst/>
              <a:gdLst/>
              <a:ahLst/>
              <a:cxnLst/>
              <a:rect l="l" t="t" r="r" b="b"/>
              <a:pathLst>
                <a:path w="3262342" h="4694018">
                  <a:moveTo>
                    <a:pt x="0" y="0"/>
                  </a:moveTo>
                  <a:lnTo>
                    <a:pt x="3262342" y="0"/>
                  </a:lnTo>
                  <a:lnTo>
                    <a:pt x="3262342" y="4694017"/>
                  </a:lnTo>
                  <a:lnTo>
                    <a:pt x="0" y="4694017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4" name="Freeform 4"/>
            <p:cNvSpPr/>
            <p:nvPr/>
          </p:nvSpPr>
          <p:spPr>
            <a:xfrm>
              <a:off x="0" y="0"/>
              <a:ext cx="3262342" cy="4694018"/>
            </a:xfrm>
            <a:custGeom>
              <a:avLst/>
              <a:gdLst/>
              <a:ahLst/>
              <a:cxnLst/>
              <a:rect l="l" t="t" r="r" b="b"/>
              <a:pathLst>
                <a:path w="3262342" h="4694018">
                  <a:moveTo>
                    <a:pt x="0" y="0"/>
                  </a:moveTo>
                  <a:lnTo>
                    <a:pt x="3262342" y="0"/>
                  </a:lnTo>
                  <a:lnTo>
                    <a:pt x="3262342" y="4694018"/>
                  </a:lnTo>
                  <a:lnTo>
                    <a:pt x="0" y="469401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5" name="Freeform 5"/>
            <p:cNvSpPr/>
            <p:nvPr/>
          </p:nvSpPr>
          <p:spPr>
            <a:xfrm>
              <a:off x="0" y="4570871"/>
              <a:ext cx="3262342" cy="4694018"/>
            </a:xfrm>
            <a:custGeom>
              <a:avLst/>
              <a:gdLst/>
              <a:ahLst/>
              <a:cxnLst/>
              <a:rect l="l" t="t" r="r" b="b"/>
              <a:pathLst>
                <a:path w="3262342" h="4694018">
                  <a:moveTo>
                    <a:pt x="0" y="0"/>
                  </a:moveTo>
                  <a:lnTo>
                    <a:pt x="3262342" y="0"/>
                  </a:lnTo>
                  <a:lnTo>
                    <a:pt x="3262342" y="4694018"/>
                  </a:lnTo>
                  <a:lnTo>
                    <a:pt x="0" y="469401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6" name="Freeform 6"/>
            <p:cNvSpPr/>
            <p:nvPr/>
          </p:nvSpPr>
          <p:spPr>
            <a:xfrm>
              <a:off x="0" y="9138737"/>
              <a:ext cx="3262342" cy="4694018"/>
            </a:xfrm>
            <a:custGeom>
              <a:avLst/>
              <a:gdLst/>
              <a:ahLst/>
              <a:cxnLst/>
              <a:rect l="l" t="t" r="r" b="b"/>
              <a:pathLst>
                <a:path w="3262342" h="4694018">
                  <a:moveTo>
                    <a:pt x="0" y="0"/>
                  </a:moveTo>
                  <a:lnTo>
                    <a:pt x="3262342" y="0"/>
                  </a:lnTo>
                  <a:lnTo>
                    <a:pt x="3262342" y="4694017"/>
                  </a:lnTo>
                  <a:lnTo>
                    <a:pt x="0" y="4694017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7" name="Freeform 7"/>
            <p:cNvSpPr/>
            <p:nvPr/>
          </p:nvSpPr>
          <p:spPr>
            <a:xfrm>
              <a:off x="0" y="13709299"/>
              <a:ext cx="3262342" cy="4694018"/>
            </a:xfrm>
            <a:custGeom>
              <a:avLst/>
              <a:gdLst/>
              <a:ahLst/>
              <a:cxnLst/>
              <a:rect l="l" t="t" r="r" b="b"/>
              <a:pathLst>
                <a:path w="3262342" h="4694018">
                  <a:moveTo>
                    <a:pt x="0" y="0"/>
                  </a:moveTo>
                  <a:lnTo>
                    <a:pt x="3262342" y="0"/>
                  </a:lnTo>
                  <a:lnTo>
                    <a:pt x="3262342" y="4694018"/>
                  </a:lnTo>
                  <a:lnTo>
                    <a:pt x="0" y="469401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8" name="Freeform 8"/>
            <p:cNvSpPr/>
            <p:nvPr/>
          </p:nvSpPr>
          <p:spPr>
            <a:xfrm>
              <a:off x="16196" y="22848311"/>
              <a:ext cx="3262342" cy="4694018"/>
            </a:xfrm>
            <a:custGeom>
              <a:avLst/>
              <a:gdLst/>
              <a:ahLst/>
              <a:cxnLst/>
              <a:rect l="l" t="t" r="r" b="b"/>
              <a:pathLst>
                <a:path w="3262342" h="4694018">
                  <a:moveTo>
                    <a:pt x="0" y="0"/>
                  </a:moveTo>
                  <a:lnTo>
                    <a:pt x="3262342" y="0"/>
                  </a:lnTo>
                  <a:lnTo>
                    <a:pt x="3262342" y="4694018"/>
                  </a:lnTo>
                  <a:lnTo>
                    <a:pt x="0" y="469401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898343" y="130464"/>
            <a:ext cx="3107965" cy="959549"/>
            <a:chOff x="0" y="0"/>
            <a:chExt cx="1316323" cy="406400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1316323" cy="406400"/>
            </a:xfrm>
            <a:custGeom>
              <a:avLst/>
              <a:gdLst/>
              <a:ahLst/>
              <a:cxnLst/>
              <a:rect l="l" t="t" r="r" b="b"/>
              <a:pathLst>
                <a:path w="1316323" h="406400">
                  <a:moveTo>
                    <a:pt x="1113123" y="0"/>
                  </a:moveTo>
                  <a:cubicBezTo>
                    <a:pt x="1225348" y="0"/>
                    <a:pt x="1316323" y="90976"/>
                    <a:pt x="1316323" y="203200"/>
                  </a:cubicBezTo>
                  <a:cubicBezTo>
                    <a:pt x="1316323" y="315424"/>
                    <a:pt x="1225348" y="406400"/>
                    <a:pt x="1113123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DDAF54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11" name="TextBox 11"/>
            <p:cNvSpPr txBox="1"/>
            <p:nvPr/>
          </p:nvSpPr>
          <p:spPr>
            <a:xfrm>
              <a:off x="0" y="-19050"/>
              <a:ext cx="812800" cy="425450"/>
            </a:xfrm>
            <a:prstGeom prst="rect">
              <a:avLst/>
            </a:prstGeom>
          </p:spPr>
          <p:txBody>
            <a:bodyPr lIns="19132" tIns="19132" rIns="19132" bIns="19132" rtlCol="0" anchor="ctr"/>
            <a:lstStyle/>
            <a:p>
              <a:pPr algn="ctr">
                <a:lnSpc>
                  <a:spcPts val="738"/>
                </a:lnSpc>
                <a:spcBef>
                  <a:spcPct val="0"/>
                </a:spcBef>
              </a:pPr>
              <a:endParaRPr sz="1200"/>
            </a:p>
          </p:txBody>
        </p:sp>
      </p:grpSp>
      <p:sp>
        <p:nvSpPr>
          <p:cNvPr id="12" name="Freeform 12"/>
          <p:cNvSpPr/>
          <p:nvPr/>
        </p:nvSpPr>
        <p:spPr>
          <a:xfrm>
            <a:off x="6084515" y="183418"/>
            <a:ext cx="854709" cy="853641"/>
          </a:xfrm>
          <a:custGeom>
            <a:avLst/>
            <a:gdLst/>
            <a:ahLst/>
            <a:cxnLst/>
            <a:rect l="l" t="t" r="r" b="b"/>
            <a:pathLst>
              <a:path w="1282064" h="1280462">
                <a:moveTo>
                  <a:pt x="0" y="0"/>
                </a:moveTo>
                <a:lnTo>
                  <a:pt x="1282064" y="0"/>
                </a:lnTo>
                <a:lnTo>
                  <a:pt x="1282064" y="1280461"/>
                </a:lnTo>
                <a:lnTo>
                  <a:pt x="0" y="1280461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13" name="Group 13"/>
          <p:cNvGrpSpPr/>
          <p:nvPr/>
        </p:nvGrpSpPr>
        <p:grpSpPr>
          <a:xfrm>
            <a:off x="3898343" y="2409190"/>
            <a:ext cx="3107965" cy="959549"/>
            <a:chOff x="0" y="0"/>
            <a:chExt cx="1316323" cy="406400"/>
          </a:xfrm>
        </p:grpSpPr>
        <p:sp>
          <p:nvSpPr>
            <p:cNvPr id="14" name="Freeform 14"/>
            <p:cNvSpPr/>
            <p:nvPr/>
          </p:nvSpPr>
          <p:spPr>
            <a:xfrm>
              <a:off x="0" y="0"/>
              <a:ext cx="1316323" cy="406400"/>
            </a:xfrm>
            <a:custGeom>
              <a:avLst/>
              <a:gdLst/>
              <a:ahLst/>
              <a:cxnLst/>
              <a:rect l="l" t="t" r="r" b="b"/>
              <a:pathLst>
                <a:path w="1316323" h="406400">
                  <a:moveTo>
                    <a:pt x="1113123" y="0"/>
                  </a:moveTo>
                  <a:cubicBezTo>
                    <a:pt x="1225348" y="0"/>
                    <a:pt x="1316323" y="90976"/>
                    <a:pt x="1316323" y="203200"/>
                  </a:cubicBezTo>
                  <a:cubicBezTo>
                    <a:pt x="1316323" y="315424"/>
                    <a:pt x="1225348" y="406400"/>
                    <a:pt x="1113123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D67663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15" name="TextBox 15"/>
            <p:cNvSpPr txBox="1"/>
            <p:nvPr/>
          </p:nvSpPr>
          <p:spPr>
            <a:xfrm>
              <a:off x="0" y="-19050"/>
              <a:ext cx="812800" cy="425450"/>
            </a:xfrm>
            <a:prstGeom prst="rect">
              <a:avLst/>
            </a:prstGeom>
          </p:spPr>
          <p:txBody>
            <a:bodyPr lIns="19132" tIns="19132" rIns="19132" bIns="19132" rtlCol="0" anchor="ctr"/>
            <a:lstStyle/>
            <a:p>
              <a:pPr algn="ctr">
                <a:lnSpc>
                  <a:spcPts val="738"/>
                </a:lnSpc>
                <a:spcBef>
                  <a:spcPct val="0"/>
                </a:spcBef>
              </a:pPr>
              <a:endParaRPr sz="1200"/>
            </a:p>
          </p:txBody>
        </p:sp>
      </p:grpSp>
      <p:grpSp>
        <p:nvGrpSpPr>
          <p:cNvPr id="16" name="Group 16"/>
          <p:cNvGrpSpPr/>
          <p:nvPr/>
        </p:nvGrpSpPr>
        <p:grpSpPr>
          <a:xfrm>
            <a:off x="3898343" y="4690098"/>
            <a:ext cx="3107965" cy="959549"/>
            <a:chOff x="0" y="0"/>
            <a:chExt cx="1316323" cy="406400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1316323" cy="406400"/>
            </a:xfrm>
            <a:custGeom>
              <a:avLst/>
              <a:gdLst/>
              <a:ahLst/>
              <a:cxnLst/>
              <a:rect l="l" t="t" r="r" b="b"/>
              <a:pathLst>
                <a:path w="1316323" h="406400">
                  <a:moveTo>
                    <a:pt x="1113123" y="0"/>
                  </a:moveTo>
                  <a:cubicBezTo>
                    <a:pt x="1225348" y="0"/>
                    <a:pt x="1316323" y="90976"/>
                    <a:pt x="1316323" y="203200"/>
                  </a:cubicBezTo>
                  <a:cubicBezTo>
                    <a:pt x="1316323" y="315424"/>
                    <a:pt x="1225348" y="406400"/>
                    <a:pt x="1113123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C96477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18" name="TextBox 18"/>
            <p:cNvSpPr txBox="1"/>
            <p:nvPr/>
          </p:nvSpPr>
          <p:spPr>
            <a:xfrm>
              <a:off x="0" y="-19050"/>
              <a:ext cx="812800" cy="425450"/>
            </a:xfrm>
            <a:prstGeom prst="rect">
              <a:avLst/>
            </a:prstGeom>
          </p:spPr>
          <p:txBody>
            <a:bodyPr lIns="19132" tIns="19132" rIns="19132" bIns="19132" rtlCol="0" anchor="ctr"/>
            <a:lstStyle/>
            <a:p>
              <a:pPr algn="ctr">
                <a:lnSpc>
                  <a:spcPts val="738"/>
                </a:lnSpc>
                <a:spcBef>
                  <a:spcPct val="0"/>
                </a:spcBef>
              </a:pPr>
              <a:endParaRPr sz="1200"/>
            </a:p>
          </p:txBody>
        </p:sp>
      </p:grpSp>
      <p:grpSp>
        <p:nvGrpSpPr>
          <p:cNvPr id="19" name="Group 19"/>
          <p:cNvGrpSpPr/>
          <p:nvPr/>
        </p:nvGrpSpPr>
        <p:grpSpPr>
          <a:xfrm>
            <a:off x="5613062" y="1271723"/>
            <a:ext cx="3107965" cy="959549"/>
            <a:chOff x="0" y="0"/>
            <a:chExt cx="1316323" cy="406400"/>
          </a:xfrm>
        </p:grpSpPr>
        <p:sp>
          <p:nvSpPr>
            <p:cNvPr id="20" name="Freeform 20"/>
            <p:cNvSpPr/>
            <p:nvPr/>
          </p:nvSpPr>
          <p:spPr>
            <a:xfrm>
              <a:off x="0" y="0"/>
              <a:ext cx="1316323" cy="406400"/>
            </a:xfrm>
            <a:custGeom>
              <a:avLst/>
              <a:gdLst/>
              <a:ahLst/>
              <a:cxnLst/>
              <a:rect l="l" t="t" r="r" b="b"/>
              <a:pathLst>
                <a:path w="1316323" h="406400">
                  <a:moveTo>
                    <a:pt x="1113123" y="0"/>
                  </a:moveTo>
                  <a:cubicBezTo>
                    <a:pt x="1225348" y="0"/>
                    <a:pt x="1316323" y="90976"/>
                    <a:pt x="1316323" y="203200"/>
                  </a:cubicBezTo>
                  <a:cubicBezTo>
                    <a:pt x="1316323" y="315424"/>
                    <a:pt x="1225348" y="406400"/>
                    <a:pt x="1113123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D69152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21" name="TextBox 21"/>
            <p:cNvSpPr txBox="1"/>
            <p:nvPr/>
          </p:nvSpPr>
          <p:spPr>
            <a:xfrm>
              <a:off x="0" y="-19050"/>
              <a:ext cx="812800" cy="425450"/>
            </a:xfrm>
            <a:prstGeom prst="rect">
              <a:avLst/>
            </a:prstGeom>
          </p:spPr>
          <p:txBody>
            <a:bodyPr lIns="19132" tIns="19132" rIns="19132" bIns="19132" rtlCol="0" anchor="ctr"/>
            <a:lstStyle/>
            <a:p>
              <a:pPr algn="ctr">
                <a:lnSpc>
                  <a:spcPts val="738"/>
                </a:lnSpc>
                <a:spcBef>
                  <a:spcPct val="0"/>
                </a:spcBef>
              </a:pPr>
              <a:endParaRPr sz="1200"/>
            </a:p>
          </p:txBody>
        </p:sp>
      </p:grpSp>
      <p:sp>
        <p:nvSpPr>
          <p:cNvPr id="22" name="AutoShape 22"/>
          <p:cNvSpPr/>
          <p:nvPr/>
        </p:nvSpPr>
        <p:spPr>
          <a:xfrm flipH="1">
            <a:off x="4892189" y="1759270"/>
            <a:ext cx="611347" cy="0"/>
          </a:xfrm>
          <a:prstGeom prst="line">
            <a:avLst/>
          </a:prstGeom>
          <a:ln w="19050" cap="flat">
            <a:solidFill>
              <a:srgbClr val="364A5A"/>
            </a:solidFill>
            <a:prstDash val="sysDot"/>
            <a:headEnd type="none" w="sm" len="sm"/>
            <a:tailEnd type="oval" w="lg" len="lg"/>
          </a:ln>
        </p:spPr>
        <p:txBody>
          <a:bodyPr/>
          <a:lstStyle/>
          <a:p>
            <a:endParaRPr lang="en-US" sz="1200"/>
          </a:p>
        </p:txBody>
      </p:sp>
      <p:sp>
        <p:nvSpPr>
          <p:cNvPr id="23" name="TextBox 23"/>
          <p:cNvSpPr txBox="1"/>
          <p:nvPr/>
        </p:nvSpPr>
        <p:spPr>
          <a:xfrm>
            <a:off x="8115100" y="395772"/>
            <a:ext cx="1178806" cy="2112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27"/>
              </a:lnSpc>
            </a:pPr>
            <a:r>
              <a:rPr lang="en-US" sz="1305">
                <a:solidFill>
                  <a:srgbClr val="FFFFFF"/>
                </a:solidFill>
                <a:latin typeface="Montserrat Bold"/>
              </a:rPr>
              <a:t>OCTOBER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8115101" y="590089"/>
            <a:ext cx="668191" cy="21448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27"/>
              </a:lnSpc>
            </a:pPr>
            <a:r>
              <a:rPr lang="en-US" sz="1305">
                <a:solidFill>
                  <a:srgbClr val="FFFFFF"/>
                </a:solidFill>
                <a:latin typeface="Montserrat"/>
              </a:rPr>
              <a:t>2023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4263248" y="469416"/>
            <a:ext cx="1894789" cy="48821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202865" lvl="1" indent="-101432">
              <a:lnSpc>
                <a:spcPts val="1315"/>
              </a:lnSpc>
              <a:buFont typeface="Arial"/>
              <a:buChar char="•"/>
            </a:pPr>
            <a:r>
              <a:rPr lang="en-US" sz="939">
                <a:solidFill>
                  <a:srgbClr val="FFFFFF"/>
                </a:solidFill>
                <a:latin typeface="Montserrat"/>
              </a:rPr>
              <a:t>Launch in DFW Metroplex</a:t>
            </a:r>
          </a:p>
          <a:p>
            <a:pPr marL="202865" lvl="1" indent="-101432">
              <a:lnSpc>
                <a:spcPts val="1315"/>
              </a:lnSpc>
              <a:buFont typeface="Arial"/>
              <a:buChar char="•"/>
            </a:pPr>
            <a:r>
              <a:rPr lang="en-US" sz="939">
                <a:solidFill>
                  <a:srgbClr val="FFFFFF"/>
                </a:solidFill>
                <a:latin typeface="Montserrat"/>
              </a:rPr>
              <a:t>Website Launch</a:t>
            </a:r>
          </a:p>
          <a:p>
            <a:pPr>
              <a:lnSpc>
                <a:spcPts val="1315"/>
              </a:lnSpc>
            </a:pPr>
            <a:endParaRPr lang="en-US" sz="939">
              <a:solidFill>
                <a:srgbClr val="FFFFFF"/>
              </a:solidFill>
              <a:latin typeface="Montserrat"/>
            </a:endParaRPr>
          </a:p>
        </p:txBody>
      </p:sp>
      <p:sp>
        <p:nvSpPr>
          <p:cNvPr id="26" name="TextBox 26"/>
          <p:cNvSpPr txBox="1"/>
          <p:nvPr/>
        </p:nvSpPr>
        <p:spPr>
          <a:xfrm>
            <a:off x="4263248" y="2754493"/>
            <a:ext cx="1821267" cy="32015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93810" lvl="1" indent="-96906">
              <a:lnSpc>
                <a:spcPts val="1257"/>
              </a:lnSpc>
              <a:buFont typeface="Arial"/>
              <a:buChar char="•"/>
            </a:pPr>
            <a:r>
              <a:rPr lang="en-US" sz="897">
                <a:solidFill>
                  <a:srgbClr val="FFFFFF"/>
                </a:solidFill>
                <a:latin typeface="Montserrat"/>
              </a:rPr>
              <a:t>Collaborate with Organizations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4263248" y="5035400"/>
            <a:ext cx="1821267" cy="1534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93810" lvl="1" indent="-96906">
              <a:lnSpc>
                <a:spcPts val="1257"/>
              </a:lnSpc>
              <a:buFont typeface="Arial"/>
              <a:buChar char="•"/>
            </a:pPr>
            <a:r>
              <a:rPr lang="en-US" sz="897">
                <a:solidFill>
                  <a:srgbClr val="FFFFFF"/>
                </a:solidFill>
                <a:latin typeface="Montserrat"/>
              </a:rPr>
              <a:t>Social Media Integration</a:t>
            </a:r>
          </a:p>
        </p:txBody>
      </p:sp>
      <p:sp>
        <p:nvSpPr>
          <p:cNvPr id="28" name="Freeform 28"/>
          <p:cNvSpPr/>
          <p:nvPr/>
        </p:nvSpPr>
        <p:spPr>
          <a:xfrm>
            <a:off x="5689560" y="1332450"/>
            <a:ext cx="854709" cy="853641"/>
          </a:xfrm>
          <a:custGeom>
            <a:avLst/>
            <a:gdLst/>
            <a:ahLst/>
            <a:cxnLst/>
            <a:rect l="l" t="t" r="r" b="b"/>
            <a:pathLst>
              <a:path w="1282064" h="1280462">
                <a:moveTo>
                  <a:pt x="0" y="0"/>
                </a:moveTo>
                <a:lnTo>
                  <a:pt x="1282064" y="0"/>
                </a:lnTo>
                <a:lnTo>
                  <a:pt x="1282064" y="1280462"/>
                </a:lnTo>
                <a:lnTo>
                  <a:pt x="0" y="1280462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29" name="TextBox 29"/>
          <p:cNvSpPr txBox="1"/>
          <p:nvPr/>
        </p:nvSpPr>
        <p:spPr>
          <a:xfrm>
            <a:off x="6549801" y="1382709"/>
            <a:ext cx="2076575" cy="70570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433"/>
              </a:lnSpc>
            </a:pPr>
            <a:endParaRPr sz="1200"/>
          </a:p>
          <a:p>
            <a:pPr marL="220979" lvl="1" indent="-110490">
              <a:lnSpc>
                <a:spcPts val="1433"/>
              </a:lnSpc>
              <a:buFont typeface="Arial"/>
              <a:buChar char="•"/>
            </a:pPr>
            <a:r>
              <a:rPr lang="en-US" sz="1023">
                <a:solidFill>
                  <a:srgbClr val="FFFFFF"/>
                </a:solidFill>
                <a:latin typeface="Montserrat"/>
              </a:rPr>
              <a:t>Launch on iOS App</a:t>
            </a:r>
          </a:p>
          <a:p>
            <a:pPr>
              <a:lnSpc>
                <a:spcPts val="1433"/>
              </a:lnSpc>
            </a:pPr>
            <a:r>
              <a:rPr lang="en-US" sz="1023">
                <a:solidFill>
                  <a:srgbClr val="FFFFFF"/>
                </a:solidFill>
                <a:latin typeface="Montserrat"/>
              </a:rPr>
              <a:t>.</a:t>
            </a:r>
          </a:p>
          <a:p>
            <a:pPr>
              <a:lnSpc>
                <a:spcPts val="1433"/>
              </a:lnSpc>
            </a:pPr>
            <a:endParaRPr lang="en-US" sz="1023">
              <a:solidFill>
                <a:srgbClr val="FFFFFF"/>
              </a:solidFill>
              <a:latin typeface="Montserrat"/>
            </a:endParaRPr>
          </a:p>
        </p:txBody>
      </p:sp>
      <p:sp>
        <p:nvSpPr>
          <p:cNvPr id="30" name="TextBox 30"/>
          <p:cNvSpPr txBox="1"/>
          <p:nvPr/>
        </p:nvSpPr>
        <p:spPr>
          <a:xfrm>
            <a:off x="6309692" y="427522"/>
            <a:ext cx="404355" cy="3590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39"/>
              </a:lnSpc>
            </a:pPr>
            <a:r>
              <a:rPr lang="en-US" sz="2366">
                <a:solidFill>
                  <a:srgbClr val="DDAF54"/>
                </a:solidFill>
                <a:latin typeface="Montserrat Heavy"/>
              </a:rPr>
              <a:t>1</a:t>
            </a:r>
          </a:p>
        </p:txBody>
      </p:sp>
      <p:sp>
        <p:nvSpPr>
          <p:cNvPr id="31" name="Freeform 31"/>
          <p:cNvSpPr/>
          <p:nvPr/>
        </p:nvSpPr>
        <p:spPr>
          <a:xfrm>
            <a:off x="6084515" y="2464453"/>
            <a:ext cx="854709" cy="853641"/>
          </a:xfrm>
          <a:custGeom>
            <a:avLst/>
            <a:gdLst/>
            <a:ahLst/>
            <a:cxnLst/>
            <a:rect l="l" t="t" r="r" b="b"/>
            <a:pathLst>
              <a:path w="1282064" h="1280462">
                <a:moveTo>
                  <a:pt x="0" y="0"/>
                </a:moveTo>
                <a:lnTo>
                  <a:pt x="1282064" y="0"/>
                </a:lnTo>
                <a:lnTo>
                  <a:pt x="1282064" y="1280462"/>
                </a:lnTo>
                <a:lnTo>
                  <a:pt x="0" y="1280462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32" name="TextBox 32"/>
          <p:cNvSpPr txBox="1"/>
          <p:nvPr/>
        </p:nvSpPr>
        <p:spPr>
          <a:xfrm>
            <a:off x="6158036" y="2736498"/>
            <a:ext cx="707667" cy="3590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39"/>
              </a:lnSpc>
            </a:pPr>
            <a:r>
              <a:rPr lang="en-US" sz="2366">
                <a:solidFill>
                  <a:srgbClr val="D67663"/>
                </a:solidFill>
                <a:latin typeface="Montserrat Heavy"/>
              </a:rPr>
              <a:t>3</a:t>
            </a:r>
          </a:p>
        </p:txBody>
      </p:sp>
      <p:sp>
        <p:nvSpPr>
          <p:cNvPr id="33" name="Freeform 33"/>
          <p:cNvSpPr/>
          <p:nvPr/>
        </p:nvSpPr>
        <p:spPr>
          <a:xfrm>
            <a:off x="6084515" y="4744506"/>
            <a:ext cx="854709" cy="853641"/>
          </a:xfrm>
          <a:custGeom>
            <a:avLst/>
            <a:gdLst/>
            <a:ahLst/>
            <a:cxnLst/>
            <a:rect l="l" t="t" r="r" b="b"/>
            <a:pathLst>
              <a:path w="1282064" h="1280462">
                <a:moveTo>
                  <a:pt x="0" y="0"/>
                </a:moveTo>
                <a:lnTo>
                  <a:pt x="1282064" y="0"/>
                </a:lnTo>
                <a:lnTo>
                  <a:pt x="1282064" y="1280462"/>
                </a:lnTo>
                <a:lnTo>
                  <a:pt x="0" y="1280462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34" name="TextBox 34"/>
          <p:cNvSpPr txBox="1"/>
          <p:nvPr/>
        </p:nvSpPr>
        <p:spPr>
          <a:xfrm>
            <a:off x="6298641" y="4941975"/>
            <a:ext cx="404355" cy="43268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553"/>
              </a:lnSpc>
            </a:pPr>
            <a:r>
              <a:rPr lang="en-US" sz="2960">
                <a:solidFill>
                  <a:srgbClr val="C96477"/>
                </a:solidFill>
                <a:latin typeface="Montserrat Heavy"/>
              </a:rPr>
              <a:t>5</a:t>
            </a:r>
          </a:p>
        </p:txBody>
      </p:sp>
      <p:sp>
        <p:nvSpPr>
          <p:cNvPr id="35" name="TextBox 35"/>
          <p:cNvSpPr txBox="1"/>
          <p:nvPr/>
        </p:nvSpPr>
        <p:spPr>
          <a:xfrm>
            <a:off x="5914737" y="1588271"/>
            <a:ext cx="404355" cy="3590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39"/>
              </a:lnSpc>
            </a:pPr>
            <a:r>
              <a:rPr lang="en-US" sz="2366">
                <a:solidFill>
                  <a:srgbClr val="D69152"/>
                </a:solidFill>
                <a:latin typeface="Montserrat Heavy"/>
              </a:rPr>
              <a:t>2</a:t>
            </a:r>
          </a:p>
        </p:txBody>
      </p:sp>
      <p:grpSp>
        <p:nvGrpSpPr>
          <p:cNvPr id="36" name="Group 36"/>
          <p:cNvGrpSpPr/>
          <p:nvPr/>
        </p:nvGrpSpPr>
        <p:grpSpPr>
          <a:xfrm>
            <a:off x="5613062" y="3547512"/>
            <a:ext cx="3107965" cy="959549"/>
            <a:chOff x="0" y="0"/>
            <a:chExt cx="1316323" cy="406400"/>
          </a:xfrm>
        </p:grpSpPr>
        <p:sp>
          <p:nvSpPr>
            <p:cNvPr id="37" name="Freeform 37"/>
            <p:cNvSpPr/>
            <p:nvPr/>
          </p:nvSpPr>
          <p:spPr>
            <a:xfrm>
              <a:off x="0" y="0"/>
              <a:ext cx="1316323" cy="406400"/>
            </a:xfrm>
            <a:custGeom>
              <a:avLst/>
              <a:gdLst/>
              <a:ahLst/>
              <a:cxnLst/>
              <a:rect l="l" t="t" r="r" b="b"/>
              <a:pathLst>
                <a:path w="1316323" h="406400">
                  <a:moveTo>
                    <a:pt x="1113123" y="0"/>
                  </a:moveTo>
                  <a:cubicBezTo>
                    <a:pt x="1225348" y="0"/>
                    <a:pt x="1316323" y="90976"/>
                    <a:pt x="1316323" y="203200"/>
                  </a:cubicBezTo>
                  <a:cubicBezTo>
                    <a:pt x="1316323" y="315424"/>
                    <a:pt x="1225348" y="406400"/>
                    <a:pt x="1113123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AA5555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38" name="TextBox 38"/>
            <p:cNvSpPr txBox="1"/>
            <p:nvPr/>
          </p:nvSpPr>
          <p:spPr>
            <a:xfrm>
              <a:off x="0" y="-19050"/>
              <a:ext cx="812800" cy="425450"/>
            </a:xfrm>
            <a:prstGeom prst="rect">
              <a:avLst/>
            </a:prstGeom>
          </p:spPr>
          <p:txBody>
            <a:bodyPr lIns="19132" tIns="19132" rIns="19132" bIns="19132" rtlCol="0" anchor="ctr"/>
            <a:lstStyle/>
            <a:p>
              <a:pPr algn="ctr">
                <a:lnSpc>
                  <a:spcPts val="738"/>
                </a:lnSpc>
                <a:spcBef>
                  <a:spcPct val="0"/>
                </a:spcBef>
              </a:pPr>
              <a:endParaRPr sz="1200"/>
            </a:p>
          </p:txBody>
        </p:sp>
      </p:grpSp>
      <p:sp>
        <p:nvSpPr>
          <p:cNvPr id="39" name="AutoShape 39"/>
          <p:cNvSpPr/>
          <p:nvPr/>
        </p:nvSpPr>
        <p:spPr>
          <a:xfrm flipH="1">
            <a:off x="4591460" y="4035059"/>
            <a:ext cx="912075" cy="0"/>
          </a:xfrm>
          <a:prstGeom prst="line">
            <a:avLst/>
          </a:prstGeom>
          <a:ln w="19050" cap="flat">
            <a:solidFill>
              <a:srgbClr val="364A5A"/>
            </a:solidFill>
            <a:prstDash val="sysDot"/>
            <a:headEnd type="none" w="sm" len="sm"/>
            <a:tailEnd type="oval" w="lg" len="lg"/>
          </a:ln>
        </p:spPr>
        <p:txBody>
          <a:bodyPr/>
          <a:lstStyle/>
          <a:p>
            <a:endParaRPr lang="en-US" sz="1200"/>
          </a:p>
        </p:txBody>
      </p:sp>
      <p:sp>
        <p:nvSpPr>
          <p:cNvPr id="40" name="Freeform 40"/>
          <p:cNvSpPr/>
          <p:nvPr/>
        </p:nvSpPr>
        <p:spPr>
          <a:xfrm>
            <a:off x="5689560" y="3608238"/>
            <a:ext cx="854709" cy="853641"/>
          </a:xfrm>
          <a:custGeom>
            <a:avLst/>
            <a:gdLst/>
            <a:ahLst/>
            <a:cxnLst/>
            <a:rect l="l" t="t" r="r" b="b"/>
            <a:pathLst>
              <a:path w="1282064" h="1280462">
                <a:moveTo>
                  <a:pt x="0" y="0"/>
                </a:moveTo>
                <a:lnTo>
                  <a:pt x="1282064" y="0"/>
                </a:lnTo>
                <a:lnTo>
                  <a:pt x="1282064" y="1280462"/>
                </a:lnTo>
                <a:lnTo>
                  <a:pt x="0" y="1280462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41" name="TextBox 41"/>
          <p:cNvSpPr txBox="1"/>
          <p:nvPr/>
        </p:nvSpPr>
        <p:spPr>
          <a:xfrm>
            <a:off x="6627929" y="3892813"/>
            <a:ext cx="1821267" cy="4868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93810" lvl="1" indent="-96906">
              <a:lnSpc>
                <a:spcPts val="1257"/>
              </a:lnSpc>
              <a:buFont typeface="Arial"/>
              <a:buChar char="•"/>
            </a:pPr>
            <a:r>
              <a:rPr lang="en-US" sz="897">
                <a:solidFill>
                  <a:srgbClr val="FFFFFF"/>
                </a:solidFill>
                <a:latin typeface="Montserrat"/>
              </a:rPr>
              <a:t>Event Management Portal for Hosts</a:t>
            </a:r>
          </a:p>
          <a:p>
            <a:pPr marL="193810" lvl="1" indent="-96906">
              <a:lnSpc>
                <a:spcPts val="1257"/>
              </a:lnSpc>
              <a:buFont typeface="Arial"/>
              <a:buChar char="•"/>
            </a:pPr>
            <a:r>
              <a:rPr lang="en-US" sz="897">
                <a:solidFill>
                  <a:srgbClr val="FFFFFF"/>
                </a:solidFill>
                <a:latin typeface="Montserrat"/>
              </a:rPr>
              <a:t>Launch on Android App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5894286" y="3856287"/>
            <a:ext cx="404355" cy="3590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39"/>
              </a:lnSpc>
            </a:pPr>
            <a:r>
              <a:rPr lang="en-US" sz="2366">
                <a:solidFill>
                  <a:srgbClr val="AA5555"/>
                </a:solidFill>
                <a:latin typeface="Montserrat Heavy"/>
              </a:rPr>
              <a:t>4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3404302" y="3811065"/>
            <a:ext cx="1155693" cy="2112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27"/>
              </a:lnSpc>
            </a:pPr>
            <a:r>
              <a:rPr lang="en-US" sz="1305">
                <a:solidFill>
                  <a:srgbClr val="FFFFFF"/>
                </a:solidFill>
                <a:latin typeface="Montserrat Bold"/>
              </a:rPr>
              <a:t>JANUARY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3595057" y="4030833"/>
            <a:ext cx="668191" cy="21448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27"/>
              </a:lnSpc>
            </a:pPr>
            <a:r>
              <a:rPr lang="en-US" sz="1305">
                <a:solidFill>
                  <a:srgbClr val="FFFFFF"/>
                </a:solidFill>
                <a:latin typeface="Montserrat"/>
              </a:rPr>
              <a:t>2024</a:t>
            </a:r>
          </a:p>
        </p:txBody>
      </p:sp>
      <p:sp>
        <p:nvSpPr>
          <p:cNvPr id="45" name="AutoShape 45"/>
          <p:cNvSpPr/>
          <p:nvPr/>
        </p:nvSpPr>
        <p:spPr>
          <a:xfrm>
            <a:off x="7134706" y="2896737"/>
            <a:ext cx="783037" cy="0"/>
          </a:xfrm>
          <a:prstGeom prst="line">
            <a:avLst/>
          </a:prstGeom>
          <a:ln w="19050" cap="flat">
            <a:solidFill>
              <a:srgbClr val="364A5A"/>
            </a:solidFill>
            <a:prstDash val="sysDot"/>
            <a:headEnd type="none" w="sm" len="sm"/>
            <a:tailEnd type="oval" w="lg" len="lg"/>
          </a:ln>
        </p:spPr>
        <p:txBody>
          <a:bodyPr/>
          <a:lstStyle/>
          <a:p>
            <a:endParaRPr lang="en-US" sz="1200"/>
          </a:p>
        </p:txBody>
      </p:sp>
      <p:sp>
        <p:nvSpPr>
          <p:cNvPr id="46" name="TextBox 46"/>
          <p:cNvSpPr txBox="1"/>
          <p:nvPr/>
        </p:nvSpPr>
        <p:spPr>
          <a:xfrm>
            <a:off x="8052836" y="2704747"/>
            <a:ext cx="1147081" cy="2112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27"/>
              </a:lnSpc>
            </a:pPr>
            <a:r>
              <a:rPr lang="en-US" sz="1305">
                <a:solidFill>
                  <a:srgbClr val="FFFFFF"/>
                </a:solidFill>
                <a:latin typeface="Montserrat Bold"/>
              </a:rPr>
              <a:t>DECEMBER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8052836" y="2900877"/>
            <a:ext cx="668191" cy="21448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27"/>
              </a:lnSpc>
            </a:pPr>
            <a:r>
              <a:rPr lang="en-US" sz="1305">
                <a:solidFill>
                  <a:srgbClr val="FFFFFF"/>
                </a:solidFill>
                <a:latin typeface="Montserrat"/>
              </a:rPr>
              <a:t>2023</a:t>
            </a:r>
          </a:p>
        </p:txBody>
      </p:sp>
      <p:sp>
        <p:nvSpPr>
          <p:cNvPr id="48" name="AutoShape 48"/>
          <p:cNvSpPr/>
          <p:nvPr/>
        </p:nvSpPr>
        <p:spPr>
          <a:xfrm>
            <a:off x="7134706" y="5181531"/>
            <a:ext cx="783037" cy="0"/>
          </a:xfrm>
          <a:prstGeom prst="line">
            <a:avLst/>
          </a:prstGeom>
          <a:ln w="19050" cap="flat">
            <a:solidFill>
              <a:srgbClr val="364A5A"/>
            </a:solidFill>
            <a:prstDash val="sysDot"/>
            <a:headEnd type="none" w="sm" len="sm"/>
            <a:tailEnd type="oval" w="lg" len="lg"/>
          </a:ln>
        </p:spPr>
        <p:txBody>
          <a:bodyPr/>
          <a:lstStyle/>
          <a:p>
            <a:endParaRPr lang="en-US" sz="1200"/>
          </a:p>
        </p:txBody>
      </p:sp>
      <p:sp>
        <p:nvSpPr>
          <p:cNvPr id="49" name="TextBox 49"/>
          <p:cNvSpPr txBox="1"/>
          <p:nvPr/>
        </p:nvSpPr>
        <p:spPr>
          <a:xfrm>
            <a:off x="8052836" y="4968708"/>
            <a:ext cx="985907" cy="2112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27"/>
              </a:lnSpc>
            </a:pPr>
            <a:r>
              <a:rPr lang="en-US" sz="1305">
                <a:solidFill>
                  <a:srgbClr val="FFFFFF"/>
                </a:solidFill>
                <a:latin typeface="Montserrat Bold"/>
              </a:rPr>
              <a:t>FEBRUARY</a:t>
            </a:r>
          </a:p>
        </p:txBody>
      </p:sp>
      <p:sp>
        <p:nvSpPr>
          <p:cNvPr id="50" name="TextBox 50"/>
          <p:cNvSpPr txBox="1"/>
          <p:nvPr/>
        </p:nvSpPr>
        <p:spPr>
          <a:xfrm>
            <a:off x="8052836" y="5154157"/>
            <a:ext cx="668191" cy="21448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27"/>
              </a:lnSpc>
            </a:pPr>
            <a:r>
              <a:rPr lang="en-US" sz="1305">
                <a:solidFill>
                  <a:srgbClr val="FFFFFF"/>
                </a:solidFill>
                <a:latin typeface="Montserrat"/>
              </a:rPr>
              <a:t>2024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3685401" y="1543049"/>
            <a:ext cx="1155693" cy="2112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27"/>
              </a:lnSpc>
            </a:pPr>
            <a:r>
              <a:rPr lang="en-US" sz="1305">
                <a:solidFill>
                  <a:srgbClr val="FFFFFF"/>
                </a:solidFill>
                <a:latin typeface="Montserrat Bold"/>
              </a:rPr>
              <a:t>NOVEMBER</a:t>
            </a:r>
          </a:p>
        </p:txBody>
      </p:sp>
      <p:sp>
        <p:nvSpPr>
          <p:cNvPr id="52" name="TextBox 52"/>
          <p:cNvSpPr txBox="1"/>
          <p:nvPr/>
        </p:nvSpPr>
        <p:spPr>
          <a:xfrm>
            <a:off x="3891805" y="1736329"/>
            <a:ext cx="668191" cy="21448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27"/>
              </a:lnSpc>
            </a:pPr>
            <a:r>
              <a:rPr lang="en-US" sz="1305">
                <a:solidFill>
                  <a:srgbClr val="FFFFFF"/>
                </a:solidFill>
                <a:latin typeface="Montserrat"/>
              </a:rPr>
              <a:t>2023</a:t>
            </a:r>
          </a:p>
        </p:txBody>
      </p:sp>
      <p:sp>
        <p:nvSpPr>
          <p:cNvPr id="53" name="AutoShape 53"/>
          <p:cNvSpPr/>
          <p:nvPr/>
        </p:nvSpPr>
        <p:spPr>
          <a:xfrm>
            <a:off x="7134706" y="598521"/>
            <a:ext cx="783037" cy="0"/>
          </a:xfrm>
          <a:prstGeom prst="line">
            <a:avLst/>
          </a:prstGeom>
          <a:ln w="19050" cap="flat">
            <a:solidFill>
              <a:srgbClr val="364A5A"/>
            </a:solidFill>
            <a:prstDash val="sysDot"/>
            <a:headEnd type="none" w="sm" len="sm"/>
            <a:tailEnd type="oval" w="lg" len="lg"/>
          </a:ln>
        </p:spPr>
        <p:txBody>
          <a:bodyPr/>
          <a:lstStyle/>
          <a:p>
            <a:endParaRPr lang="en-US" sz="1200"/>
          </a:p>
        </p:txBody>
      </p:sp>
      <p:grpSp>
        <p:nvGrpSpPr>
          <p:cNvPr id="54" name="Group 54"/>
          <p:cNvGrpSpPr/>
          <p:nvPr/>
        </p:nvGrpSpPr>
        <p:grpSpPr>
          <a:xfrm>
            <a:off x="5613061" y="5827447"/>
            <a:ext cx="3130848" cy="966614"/>
            <a:chOff x="0" y="0"/>
            <a:chExt cx="1316323" cy="406400"/>
          </a:xfrm>
        </p:grpSpPr>
        <p:sp>
          <p:nvSpPr>
            <p:cNvPr id="55" name="Freeform 55"/>
            <p:cNvSpPr/>
            <p:nvPr/>
          </p:nvSpPr>
          <p:spPr>
            <a:xfrm>
              <a:off x="0" y="0"/>
              <a:ext cx="1316323" cy="406400"/>
            </a:xfrm>
            <a:custGeom>
              <a:avLst/>
              <a:gdLst/>
              <a:ahLst/>
              <a:cxnLst/>
              <a:rect l="l" t="t" r="r" b="b"/>
              <a:pathLst>
                <a:path w="1316323" h="406400">
                  <a:moveTo>
                    <a:pt x="1113123" y="0"/>
                  </a:moveTo>
                  <a:cubicBezTo>
                    <a:pt x="1225348" y="0"/>
                    <a:pt x="1316323" y="90976"/>
                    <a:pt x="1316323" y="203200"/>
                  </a:cubicBezTo>
                  <a:cubicBezTo>
                    <a:pt x="1316323" y="315424"/>
                    <a:pt x="1225348" y="406400"/>
                    <a:pt x="1113123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994154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56" name="TextBox 56"/>
            <p:cNvSpPr txBox="1"/>
            <p:nvPr/>
          </p:nvSpPr>
          <p:spPr>
            <a:xfrm>
              <a:off x="0" y="-19050"/>
              <a:ext cx="812800" cy="425450"/>
            </a:xfrm>
            <a:prstGeom prst="rect">
              <a:avLst/>
            </a:prstGeom>
          </p:spPr>
          <p:txBody>
            <a:bodyPr lIns="19132" tIns="19132" rIns="19132" bIns="19132" rtlCol="0" anchor="ctr"/>
            <a:lstStyle/>
            <a:p>
              <a:pPr algn="ctr">
                <a:lnSpc>
                  <a:spcPts val="738"/>
                </a:lnSpc>
                <a:spcBef>
                  <a:spcPct val="0"/>
                </a:spcBef>
              </a:pPr>
              <a:endParaRPr sz="1200"/>
            </a:p>
          </p:txBody>
        </p:sp>
      </p:grpSp>
      <p:sp>
        <p:nvSpPr>
          <p:cNvPr id="57" name="TextBox 57"/>
          <p:cNvSpPr txBox="1"/>
          <p:nvPr/>
        </p:nvSpPr>
        <p:spPr>
          <a:xfrm>
            <a:off x="6635400" y="6175385"/>
            <a:ext cx="1834677" cy="3204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94945" lvl="1" indent="-97155">
              <a:lnSpc>
                <a:spcPts val="1265"/>
              </a:lnSpc>
              <a:buFont typeface="Arial"/>
              <a:buChar char="•"/>
            </a:pPr>
            <a:r>
              <a:rPr lang="en-US" sz="900">
                <a:solidFill>
                  <a:srgbClr val="FFFFFF"/>
                </a:solidFill>
                <a:latin typeface="Montserrat"/>
              </a:rPr>
              <a:t>Calendar integration</a:t>
            </a:r>
            <a:endParaRPr lang="en-US"/>
          </a:p>
          <a:p>
            <a:pPr marL="194945" lvl="1" indent="-97155">
              <a:lnSpc>
                <a:spcPts val="1265"/>
              </a:lnSpc>
              <a:buFont typeface="Arial"/>
              <a:buChar char="•"/>
            </a:pPr>
            <a:r>
              <a:rPr lang="en-US" sz="900">
                <a:solidFill>
                  <a:srgbClr val="FFFFFF"/>
                </a:solidFill>
                <a:latin typeface="Montserrat"/>
              </a:rPr>
              <a:t>Push notification</a:t>
            </a:r>
          </a:p>
        </p:txBody>
      </p:sp>
      <p:sp>
        <p:nvSpPr>
          <p:cNvPr id="58" name="Freeform 58"/>
          <p:cNvSpPr/>
          <p:nvPr/>
        </p:nvSpPr>
        <p:spPr>
          <a:xfrm>
            <a:off x="5730682" y="5906379"/>
            <a:ext cx="854709" cy="853641"/>
          </a:xfrm>
          <a:custGeom>
            <a:avLst/>
            <a:gdLst/>
            <a:ahLst/>
            <a:cxnLst/>
            <a:rect l="l" t="t" r="r" b="b"/>
            <a:pathLst>
              <a:path w="1282064" h="1280462">
                <a:moveTo>
                  <a:pt x="0" y="0"/>
                </a:moveTo>
                <a:lnTo>
                  <a:pt x="1282064" y="0"/>
                </a:lnTo>
                <a:lnTo>
                  <a:pt x="1282064" y="1280461"/>
                </a:lnTo>
                <a:lnTo>
                  <a:pt x="0" y="1280461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59" name="TextBox 59"/>
          <p:cNvSpPr txBox="1"/>
          <p:nvPr/>
        </p:nvSpPr>
        <p:spPr>
          <a:xfrm>
            <a:off x="5955859" y="6132247"/>
            <a:ext cx="404355" cy="43268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553"/>
              </a:lnSpc>
            </a:pPr>
            <a:r>
              <a:rPr lang="en-US" sz="2960">
                <a:solidFill>
                  <a:srgbClr val="C96477"/>
                </a:solidFill>
                <a:latin typeface="Montserrat Bold"/>
              </a:rPr>
              <a:t>6</a:t>
            </a:r>
          </a:p>
        </p:txBody>
      </p:sp>
      <p:sp>
        <p:nvSpPr>
          <p:cNvPr id="60" name="AutoShape 60"/>
          <p:cNvSpPr/>
          <p:nvPr/>
        </p:nvSpPr>
        <p:spPr>
          <a:xfrm flipH="1">
            <a:off x="5057721" y="6390983"/>
            <a:ext cx="422311" cy="0"/>
          </a:xfrm>
          <a:prstGeom prst="line">
            <a:avLst/>
          </a:prstGeom>
          <a:ln w="19050" cap="flat">
            <a:solidFill>
              <a:srgbClr val="364A5A"/>
            </a:solidFill>
            <a:prstDash val="sysDot"/>
            <a:headEnd type="none" w="sm" len="sm"/>
            <a:tailEnd type="oval" w="lg" len="lg"/>
          </a:ln>
        </p:spPr>
        <p:txBody>
          <a:bodyPr/>
          <a:lstStyle/>
          <a:p>
            <a:endParaRPr lang="en-US" sz="1200"/>
          </a:p>
        </p:txBody>
      </p:sp>
      <p:sp>
        <p:nvSpPr>
          <p:cNvPr id="61" name="TextBox 61"/>
          <p:cNvSpPr txBox="1"/>
          <p:nvPr/>
        </p:nvSpPr>
        <p:spPr>
          <a:xfrm>
            <a:off x="3898343" y="6243422"/>
            <a:ext cx="1231738" cy="44217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33"/>
              </a:lnSpc>
            </a:pPr>
            <a:r>
              <a:rPr lang="en-US" sz="1309">
                <a:solidFill>
                  <a:srgbClr val="FFFFFF"/>
                </a:solidFill>
                <a:latin typeface="Montserrat Bold"/>
              </a:rPr>
              <a:t>MARCH</a:t>
            </a:r>
          </a:p>
          <a:p>
            <a:pPr>
              <a:lnSpc>
                <a:spcPts val="1833"/>
              </a:lnSpc>
            </a:pPr>
            <a:r>
              <a:rPr lang="en-US" sz="1309">
                <a:solidFill>
                  <a:srgbClr val="FFFFFF"/>
                </a:solidFill>
                <a:latin typeface="Montserrat Bold"/>
              </a:rPr>
              <a:t>2024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A1451E1-6E09-C8CE-6B98-281E07AAFE5B}"/>
              </a:ext>
            </a:extLst>
          </p:cNvPr>
          <p:cNvSpPr txBox="1"/>
          <p:nvPr/>
        </p:nvSpPr>
        <p:spPr>
          <a:xfrm>
            <a:off x="950976" y="452052"/>
            <a:ext cx="358240" cy="5732084"/>
          </a:xfrm>
          <a:prstGeom prst="rect">
            <a:avLst/>
          </a:prstGeom>
          <a:noFill/>
        </p:spPr>
        <p:txBody>
          <a:bodyPr vert="wordArtVert" wrap="square" lIns="0" tIns="0" rIns="0" bIns="0" numCol="1" rtlCol="0" anchor="ctr">
            <a:spAutoFit/>
          </a:bodyPr>
          <a:lstStyle/>
          <a:p>
            <a:pPr algn="l"/>
            <a:r>
              <a:rPr lang="en-US" b="1" kern="0" dirty="0"/>
              <a:t>PRODUCT TIMELINE</a:t>
            </a:r>
          </a:p>
        </p:txBody>
      </p:sp>
    </p:spTree>
  </p:cSld>
  <p:clrMapOvr>
    <a:masterClrMapping/>
  </p:clrMapOvr>
  <p:transition spd="slow">
    <p:push dir="u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5478104" y="-6910881"/>
            <a:ext cx="1651339" cy="13872561"/>
            <a:chOff x="0" y="0"/>
            <a:chExt cx="3302677" cy="27745122"/>
          </a:xfrm>
        </p:grpSpPr>
        <p:sp>
          <p:nvSpPr>
            <p:cNvPr id="3" name="Freeform 3"/>
            <p:cNvSpPr/>
            <p:nvPr/>
          </p:nvSpPr>
          <p:spPr>
            <a:xfrm>
              <a:off x="0" y="18412235"/>
              <a:ext cx="3286363" cy="4728579"/>
            </a:xfrm>
            <a:custGeom>
              <a:avLst/>
              <a:gdLst/>
              <a:ahLst/>
              <a:cxnLst/>
              <a:rect l="l" t="t" r="r" b="b"/>
              <a:pathLst>
                <a:path w="3286363" h="4728579">
                  <a:moveTo>
                    <a:pt x="0" y="0"/>
                  </a:moveTo>
                  <a:lnTo>
                    <a:pt x="3286363" y="0"/>
                  </a:lnTo>
                  <a:lnTo>
                    <a:pt x="3286363" y="4728579"/>
                  </a:lnTo>
                  <a:lnTo>
                    <a:pt x="0" y="472857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4" name="Freeform 4"/>
            <p:cNvSpPr/>
            <p:nvPr/>
          </p:nvSpPr>
          <p:spPr>
            <a:xfrm>
              <a:off x="0" y="0"/>
              <a:ext cx="3286363" cy="4728579"/>
            </a:xfrm>
            <a:custGeom>
              <a:avLst/>
              <a:gdLst/>
              <a:ahLst/>
              <a:cxnLst/>
              <a:rect l="l" t="t" r="r" b="b"/>
              <a:pathLst>
                <a:path w="3286363" h="4728579">
                  <a:moveTo>
                    <a:pt x="0" y="0"/>
                  </a:moveTo>
                  <a:lnTo>
                    <a:pt x="3286363" y="0"/>
                  </a:lnTo>
                  <a:lnTo>
                    <a:pt x="3286363" y="4728579"/>
                  </a:lnTo>
                  <a:lnTo>
                    <a:pt x="0" y="472857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5" name="Freeform 5"/>
            <p:cNvSpPr/>
            <p:nvPr/>
          </p:nvSpPr>
          <p:spPr>
            <a:xfrm>
              <a:off x="0" y="4604526"/>
              <a:ext cx="3286363" cy="4728579"/>
            </a:xfrm>
            <a:custGeom>
              <a:avLst/>
              <a:gdLst/>
              <a:ahLst/>
              <a:cxnLst/>
              <a:rect l="l" t="t" r="r" b="b"/>
              <a:pathLst>
                <a:path w="3286363" h="4728579">
                  <a:moveTo>
                    <a:pt x="0" y="0"/>
                  </a:moveTo>
                  <a:lnTo>
                    <a:pt x="3286363" y="0"/>
                  </a:lnTo>
                  <a:lnTo>
                    <a:pt x="3286363" y="4728580"/>
                  </a:lnTo>
                  <a:lnTo>
                    <a:pt x="0" y="472858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6" name="Freeform 6"/>
            <p:cNvSpPr/>
            <p:nvPr/>
          </p:nvSpPr>
          <p:spPr>
            <a:xfrm>
              <a:off x="0" y="9206025"/>
              <a:ext cx="3286363" cy="4728579"/>
            </a:xfrm>
            <a:custGeom>
              <a:avLst/>
              <a:gdLst/>
              <a:ahLst/>
              <a:cxnLst/>
              <a:rect l="l" t="t" r="r" b="b"/>
              <a:pathLst>
                <a:path w="3286363" h="4728579">
                  <a:moveTo>
                    <a:pt x="0" y="0"/>
                  </a:moveTo>
                  <a:lnTo>
                    <a:pt x="3286363" y="0"/>
                  </a:lnTo>
                  <a:lnTo>
                    <a:pt x="3286363" y="4728579"/>
                  </a:lnTo>
                  <a:lnTo>
                    <a:pt x="0" y="472857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7" name="Freeform 7"/>
            <p:cNvSpPr/>
            <p:nvPr/>
          </p:nvSpPr>
          <p:spPr>
            <a:xfrm>
              <a:off x="0" y="13810240"/>
              <a:ext cx="3286363" cy="4728579"/>
            </a:xfrm>
            <a:custGeom>
              <a:avLst/>
              <a:gdLst/>
              <a:ahLst/>
              <a:cxnLst/>
              <a:rect l="l" t="t" r="r" b="b"/>
              <a:pathLst>
                <a:path w="3286363" h="4728579">
                  <a:moveTo>
                    <a:pt x="0" y="0"/>
                  </a:moveTo>
                  <a:lnTo>
                    <a:pt x="3286363" y="0"/>
                  </a:lnTo>
                  <a:lnTo>
                    <a:pt x="3286363" y="4728579"/>
                  </a:lnTo>
                  <a:lnTo>
                    <a:pt x="0" y="472857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8" name="Freeform 8"/>
            <p:cNvSpPr/>
            <p:nvPr/>
          </p:nvSpPr>
          <p:spPr>
            <a:xfrm>
              <a:off x="16315" y="23016542"/>
              <a:ext cx="3286363" cy="4728579"/>
            </a:xfrm>
            <a:custGeom>
              <a:avLst/>
              <a:gdLst/>
              <a:ahLst/>
              <a:cxnLst/>
              <a:rect l="l" t="t" r="r" b="b"/>
              <a:pathLst>
                <a:path w="3286363" h="4728579">
                  <a:moveTo>
                    <a:pt x="0" y="0"/>
                  </a:moveTo>
                  <a:lnTo>
                    <a:pt x="3286362" y="0"/>
                  </a:lnTo>
                  <a:lnTo>
                    <a:pt x="3286362" y="4728580"/>
                  </a:lnTo>
                  <a:lnTo>
                    <a:pt x="0" y="472858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3861092" y="111452"/>
            <a:ext cx="3130848" cy="966614"/>
            <a:chOff x="0" y="0"/>
            <a:chExt cx="1316323" cy="406400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1316323" cy="406400"/>
            </a:xfrm>
            <a:custGeom>
              <a:avLst/>
              <a:gdLst/>
              <a:ahLst/>
              <a:cxnLst/>
              <a:rect l="l" t="t" r="r" b="b"/>
              <a:pathLst>
                <a:path w="1316323" h="406400">
                  <a:moveTo>
                    <a:pt x="1113123" y="0"/>
                  </a:moveTo>
                  <a:cubicBezTo>
                    <a:pt x="1225348" y="0"/>
                    <a:pt x="1316323" y="90976"/>
                    <a:pt x="1316323" y="203200"/>
                  </a:cubicBezTo>
                  <a:cubicBezTo>
                    <a:pt x="1316323" y="315424"/>
                    <a:pt x="1225348" y="406400"/>
                    <a:pt x="1113123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68597C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11" name="TextBox 11"/>
            <p:cNvSpPr txBox="1"/>
            <p:nvPr/>
          </p:nvSpPr>
          <p:spPr>
            <a:xfrm>
              <a:off x="0" y="-19050"/>
              <a:ext cx="812800" cy="425450"/>
            </a:xfrm>
            <a:prstGeom prst="rect">
              <a:avLst/>
            </a:prstGeom>
          </p:spPr>
          <p:txBody>
            <a:bodyPr lIns="19132" tIns="19132" rIns="19132" bIns="19132" rtlCol="0" anchor="ctr"/>
            <a:lstStyle/>
            <a:p>
              <a:pPr algn="ctr">
                <a:lnSpc>
                  <a:spcPts val="738"/>
                </a:lnSpc>
                <a:spcBef>
                  <a:spcPct val="0"/>
                </a:spcBef>
              </a:pPr>
              <a:endParaRPr sz="1200"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3861092" y="2409153"/>
            <a:ext cx="3130848" cy="966614"/>
            <a:chOff x="0" y="0"/>
            <a:chExt cx="1316323" cy="40640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1316323" cy="406400"/>
            </a:xfrm>
            <a:custGeom>
              <a:avLst/>
              <a:gdLst/>
              <a:ahLst/>
              <a:cxnLst/>
              <a:rect l="l" t="t" r="r" b="b"/>
              <a:pathLst>
                <a:path w="1316323" h="406400">
                  <a:moveTo>
                    <a:pt x="1113123" y="0"/>
                  </a:moveTo>
                  <a:cubicBezTo>
                    <a:pt x="1225348" y="0"/>
                    <a:pt x="1316323" y="90976"/>
                    <a:pt x="1316323" y="203200"/>
                  </a:cubicBezTo>
                  <a:cubicBezTo>
                    <a:pt x="1316323" y="315424"/>
                    <a:pt x="1225348" y="406400"/>
                    <a:pt x="1113123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517B77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14" name="TextBox 14"/>
            <p:cNvSpPr txBox="1"/>
            <p:nvPr/>
          </p:nvSpPr>
          <p:spPr>
            <a:xfrm>
              <a:off x="0" y="-19050"/>
              <a:ext cx="812800" cy="425450"/>
            </a:xfrm>
            <a:prstGeom prst="rect">
              <a:avLst/>
            </a:prstGeom>
          </p:spPr>
          <p:txBody>
            <a:bodyPr lIns="19132" tIns="19132" rIns="19132" bIns="19132" rtlCol="0" anchor="ctr"/>
            <a:lstStyle/>
            <a:p>
              <a:pPr algn="ctr">
                <a:lnSpc>
                  <a:spcPts val="738"/>
                </a:lnSpc>
                <a:spcBef>
                  <a:spcPct val="0"/>
                </a:spcBef>
              </a:pPr>
              <a:endParaRPr sz="1200"/>
            </a:p>
          </p:txBody>
        </p:sp>
      </p:grpSp>
      <p:sp>
        <p:nvSpPr>
          <p:cNvPr id="15" name="TextBox 15"/>
          <p:cNvSpPr txBox="1"/>
          <p:nvPr/>
        </p:nvSpPr>
        <p:spPr>
          <a:xfrm>
            <a:off x="4228684" y="459389"/>
            <a:ext cx="1834677" cy="1536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95238" lvl="1" indent="-97619">
              <a:lnSpc>
                <a:spcPts val="1265"/>
              </a:lnSpc>
              <a:buFont typeface="Arial"/>
              <a:buChar char="•"/>
            </a:pPr>
            <a:r>
              <a:rPr lang="en-US" sz="904">
                <a:solidFill>
                  <a:srgbClr val="FFFFFF"/>
                </a:solidFill>
                <a:latin typeface="Montserrat"/>
              </a:rPr>
              <a:t>Geolocation Services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4228684" y="2757091"/>
            <a:ext cx="1834677" cy="1536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95238" lvl="1" indent="-97619">
              <a:lnSpc>
                <a:spcPts val="1265"/>
              </a:lnSpc>
              <a:buFont typeface="Arial"/>
              <a:buChar char="•"/>
            </a:pPr>
            <a:r>
              <a:rPr lang="en-US" sz="904">
                <a:solidFill>
                  <a:srgbClr val="FFFFFF"/>
                </a:solidFill>
                <a:latin typeface="Montserrat"/>
              </a:rPr>
              <a:t>User Reviews </a:t>
            </a:r>
          </a:p>
        </p:txBody>
      </p:sp>
      <p:sp>
        <p:nvSpPr>
          <p:cNvPr id="17" name="Freeform 17"/>
          <p:cNvSpPr/>
          <p:nvPr/>
        </p:nvSpPr>
        <p:spPr>
          <a:xfrm>
            <a:off x="6063361" y="166389"/>
            <a:ext cx="861003" cy="859927"/>
          </a:xfrm>
          <a:custGeom>
            <a:avLst/>
            <a:gdLst/>
            <a:ahLst/>
            <a:cxnLst/>
            <a:rect l="l" t="t" r="r" b="b"/>
            <a:pathLst>
              <a:path w="1291504" h="1289890">
                <a:moveTo>
                  <a:pt x="0" y="0"/>
                </a:moveTo>
                <a:lnTo>
                  <a:pt x="1291504" y="0"/>
                </a:lnTo>
                <a:lnTo>
                  <a:pt x="1291504" y="1289890"/>
                </a:lnTo>
                <a:lnTo>
                  <a:pt x="0" y="128989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18" name="TextBox 18"/>
          <p:cNvSpPr txBox="1"/>
          <p:nvPr/>
        </p:nvSpPr>
        <p:spPr>
          <a:xfrm>
            <a:off x="6279064" y="371661"/>
            <a:ext cx="407332" cy="43332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579"/>
              </a:lnSpc>
            </a:pPr>
            <a:r>
              <a:rPr lang="en-US" sz="2982">
                <a:solidFill>
                  <a:srgbClr val="68597C"/>
                </a:solidFill>
                <a:latin typeface="Montserrat Heavy"/>
              </a:rPr>
              <a:t>7</a:t>
            </a:r>
          </a:p>
        </p:txBody>
      </p:sp>
      <p:sp>
        <p:nvSpPr>
          <p:cNvPr id="19" name="Freeform 19"/>
          <p:cNvSpPr/>
          <p:nvPr/>
        </p:nvSpPr>
        <p:spPr>
          <a:xfrm>
            <a:off x="6052228" y="2463962"/>
            <a:ext cx="861003" cy="859927"/>
          </a:xfrm>
          <a:custGeom>
            <a:avLst/>
            <a:gdLst/>
            <a:ahLst/>
            <a:cxnLst/>
            <a:rect l="l" t="t" r="r" b="b"/>
            <a:pathLst>
              <a:path w="1291504" h="1289890">
                <a:moveTo>
                  <a:pt x="0" y="0"/>
                </a:moveTo>
                <a:lnTo>
                  <a:pt x="1291503" y="0"/>
                </a:lnTo>
                <a:lnTo>
                  <a:pt x="1291503" y="1289889"/>
                </a:lnTo>
                <a:lnTo>
                  <a:pt x="0" y="128988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20" name="TextBox 20"/>
          <p:cNvSpPr txBox="1"/>
          <p:nvPr/>
        </p:nvSpPr>
        <p:spPr>
          <a:xfrm>
            <a:off x="6267930" y="2669234"/>
            <a:ext cx="407332" cy="43332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579"/>
              </a:lnSpc>
            </a:pPr>
            <a:r>
              <a:rPr lang="en-US" sz="2982">
                <a:solidFill>
                  <a:srgbClr val="517B77"/>
                </a:solidFill>
                <a:latin typeface="Montserrat Heavy"/>
              </a:rPr>
              <a:t>9</a:t>
            </a:r>
          </a:p>
        </p:txBody>
      </p:sp>
      <p:grpSp>
        <p:nvGrpSpPr>
          <p:cNvPr id="21" name="Group 21"/>
          <p:cNvGrpSpPr/>
          <p:nvPr/>
        </p:nvGrpSpPr>
        <p:grpSpPr>
          <a:xfrm>
            <a:off x="5588436" y="1265984"/>
            <a:ext cx="3130848" cy="966614"/>
            <a:chOff x="0" y="0"/>
            <a:chExt cx="1316323" cy="406400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1316323" cy="406400"/>
            </a:xfrm>
            <a:custGeom>
              <a:avLst/>
              <a:gdLst/>
              <a:ahLst/>
              <a:cxnLst/>
              <a:rect l="l" t="t" r="r" b="b"/>
              <a:pathLst>
                <a:path w="1316323" h="406400">
                  <a:moveTo>
                    <a:pt x="1113123" y="0"/>
                  </a:moveTo>
                  <a:cubicBezTo>
                    <a:pt x="1225348" y="0"/>
                    <a:pt x="1316323" y="90976"/>
                    <a:pt x="1316323" y="203200"/>
                  </a:cubicBezTo>
                  <a:cubicBezTo>
                    <a:pt x="1316323" y="315424"/>
                    <a:pt x="1225348" y="406400"/>
                    <a:pt x="1113123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015C6B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23" name="TextBox 23"/>
            <p:cNvSpPr txBox="1"/>
            <p:nvPr/>
          </p:nvSpPr>
          <p:spPr>
            <a:xfrm>
              <a:off x="0" y="-19050"/>
              <a:ext cx="812800" cy="425450"/>
            </a:xfrm>
            <a:prstGeom prst="rect">
              <a:avLst/>
            </a:prstGeom>
          </p:spPr>
          <p:txBody>
            <a:bodyPr lIns="19132" tIns="19132" rIns="19132" bIns="19132" rtlCol="0" anchor="ctr"/>
            <a:lstStyle/>
            <a:p>
              <a:pPr algn="ctr">
                <a:lnSpc>
                  <a:spcPts val="738"/>
                </a:lnSpc>
                <a:spcBef>
                  <a:spcPct val="0"/>
                </a:spcBef>
              </a:pPr>
              <a:endParaRPr sz="1200"/>
            </a:p>
          </p:txBody>
        </p:sp>
      </p:grpSp>
      <p:sp>
        <p:nvSpPr>
          <p:cNvPr id="24" name="AutoShape 24"/>
          <p:cNvSpPr/>
          <p:nvPr/>
        </p:nvSpPr>
        <p:spPr>
          <a:xfrm flipH="1">
            <a:off x="4739962" y="1757121"/>
            <a:ext cx="702816" cy="0"/>
          </a:xfrm>
          <a:prstGeom prst="line">
            <a:avLst/>
          </a:prstGeom>
          <a:ln w="19050" cap="flat">
            <a:solidFill>
              <a:srgbClr val="364A5A"/>
            </a:solidFill>
            <a:prstDash val="sysDot"/>
            <a:headEnd type="none" w="sm" len="sm"/>
            <a:tailEnd type="oval" w="lg" len="lg"/>
          </a:ln>
        </p:spPr>
        <p:txBody>
          <a:bodyPr/>
          <a:lstStyle/>
          <a:p>
            <a:endParaRPr lang="en-US" sz="1200"/>
          </a:p>
        </p:txBody>
      </p:sp>
      <p:sp>
        <p:nvSpPr>
          <p:cNvPr id="25" name="Freeform 25"/>
          <p:cNvSpPr/>
          <p:nvPr/>
        </p:nvSpPr>
        <p:spPr>
          <a:xfrm>
            <a:off x="5665498" y="1327157"/>
            <a:ext cx="861003" cy="859927"/>
          </a:xfrm>
          <a:custGeom>
            <a:avLst/>
            <a:gdLst/>
            <a:ahLst/>
            <a:cxnLst/>
            <a:rect l="l" t="t" r="r" b="b"/>
            <a:pathLst>
              <a:path w="1291504" h="1289890">
                <a:moveTo>
                  <a:pt x="0" y="0"/>
                </a:moveTo>
                <a:lnTo>
                  <a:pt x="1291504" y="0"/>
                </a:lnTo>
                <a:lnTo>
                  <a:pt x="1291504" y="1289890"/>
                </a:lnTo>
                <a:lnTo>
                  <a:pt x="0" y="128989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26" name="TextBox 26"/>
          <p:cNvSpPr txBox="1"/>
          <p:nvPr/>
        </p:nvSpPr>
        <p:spPr>
          <a:xfrm>
            <a:off x="6610776" y="1613922"/>
            <a:ext cx="1834677" cy="3204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95238" lvl="1" indent="-97619">
              <a:lnSpc>
                <a:spcPts val="1265"/>
              </a:lnSpc>
              <a:buFont typeface="Arial"/>
              <a:buChar char="•"/>
            </a:pPr>
            <a:r>
              <a:rPr lang="en-US" sz="904">
                <a:solidFill>
                  <a:srgbClr val="FFFFFF"/>
                </a:solidFill>
                <a:latin typeface="Montserrat"/>
              </a:rPr>
              <a:t>Personalized Event Recommendations 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5892334" y="1584862"/>
            <a:ext cx="407332" cy="3484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61"/>
              </a:lnSpc>
            </a:pPr>
            <a:r>
              <a:rPr lang="en-US" sz="2383">
                <a:solidFill>
                  <a:srgbClr val="015C6B"/>
                </a:solidFill>
                <a:latin typeface="Montserrat Heavy"/>
              </a:rPr>
              <a:t>8</a:t>
            </a:r>
          </a:p>
        </p:txBody>
      </p:sp>
      <p:sp>
        <p:nvSpPr>
          <p:cNvPr id="28" name="TextBox 28"/>
          <p:cNvSpPr txBox="1"/>
          <p:nvPr/>
        </p:nvSpPr>
        <p:spPr>
          <a:xfrm>
            <a:off x="3854506" y="1538121"/>
            <a:ext cx="906518" cy="2115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41"/>
              </a:lnSpc>
            </a:pPr>
            <a:r>
              <a:rPr lang="en-US" sz="1315">
                <a:solidFill>
                  <a:srgbClr val="FFFFFF"/>
                </a:solidFill>
                <a:latin typeface="Montserrat Bold"/>
              </a:rPr>
              <a:t>MAY</a:t>
            </a:r>
          </a:p>
        </p:txBody>
      </p:sp>
      <p:sp>
        <p:nvSpPr>
          <p:cNvPr id="29" name="TextBox 29"/>
          <p:cNvSpPr txBox="1"/>
          <p:nvPr/>
        </p:nvSpPr>
        <p:spPr>
          <a:xfrm>
            <a:off x="3854506" y="1732956"/>
            <a:ext cx="673111" cy="2148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41"/>
              </a:lnSpc>
            </a:pPr>
            <a:r>
              <a:rPr lang="en-US" sz="1315">
                <a:solidFill>
                  <a:srgbClr val="FFFFFF"/>
                </a:solidFill>
                <a:latin typeface="Montserrat"/>
              </a:rPr>
              <a:t>2024</a:t>
            </a:r>
          </a:p>
        </p:txBody>
      </p:sp>
      <p:grpSp>
        <p:nvGrpSpPr>
          <p:cNvPr id="30" name="Group 30"/>
          <p:cNvGrpSpPr/>
          <p:nvPr/>
        </p:nvGrpSpPr>
        <p:grpSpPr>
          <a:xfrm>
            <a:off x="5588436" y="3571515"/>
            <a:ext cx="3130848" cy="966614"/>
            <a:chOff x="0" y="0"/>
            <a:chExt cx="1316323" cy="406400"/>
          </a:xfrm>
        </p:grpSpPr>
        <p:sp>
          <p:nvSpPr>
            <p:cNvPr id="31" name="Freeform 31"/>
            <p:cNvSpPr/>
            <p:nvPr/>
          </p:nvSpPr>
          <p:spPr>
            <a:xfrm>
              <a:off x="0" y="0"/>
              <a:ext cx="1316323" cy="406400"/>
            </a:xfrm>
            <a:custGeom>
              <a:avLst/>
              <a:gdLst/>
              <a:ahLst/>
              <a:cxnLst/>
              <a:rect l="l" t="t" r="r" b="b"/>
              <a:pathLst>
                <a:path w="1316323" h="406400">
                  <a:moveTo>
                    <a:pt x="1113123" y="0"/>
                  </a:moveTo>
                  <a:cubicBezTo>
                    <a:pt x="1225348" y="0"/>
                    <a:pt x="1316323" y="90976"/>
                    <a:pt x="1316323" y="203200"/>
                  </a:cubicBezTo>
                  <a:cubicBezTo>
                    <a:pt x="1316323" y="315424"/>
                    <a:pt x="1225348" y="406400"/>
                    <a:pt x="1113123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609BA4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32" name="TextBox 32"/>
            <p:cNvSpPr txBox="1"/>
            <p:nvPr/>
          </p:nvSpPr>
          <p:spPr>
            <a:xfrm>
              <a:off x="0" y="-19050"/>
              <a:ext cx="812800" cy="425450"/>
            </a:xfrm>
            <a:prstGeom prst="rect">
              <a:avLst/>
            </a:prstGeom>
          </p:spPr>
          <p:txBody>
            <a:bodyPr lIns="19132" tIns="19132" rIns="19132" bIns="19132" rtlCol="0" anchor="ctr"/>
            <a:lstStyle/>
            <a:p>
              <a:pPr algn="ctr">
                <a:lnSpc>
                  <a:spcPts val="738"/>
                </a:lnSpc>
                <a:spcBef>
                  <a:spcPct val="0"/>
                </a:spcBef>
              </a:pPr>
              <a:endParaRPr sz="1200"/>
            </a:p>
          </p:txBody>
        </p:sp>
      </p:grpSp>
      <p:sp>
        <p:nvSpPr>
          <p:cNvPr id="33" name="AutoShape 33"/>
          <p:cNvSpPr/>
          <p:nvPr/>
        </p:nvSpPr>
        <p:spPr>
          <a:xfrm flipH="1">
            <a:off x="4761024" y="4054822"/>
            <a:ext cx="681753" cy="0"/>
          </a:xfrm>
          <a:prstGeom prst="line">
            <a:avLst/>
          </a:prstGeom>
          <a:ln w="19050" cap="flat">
            <a:solidFill>
              <a:srgbClr val="364A5A"/>
            </a:solidFill>
            <a:prstDash val="sysDot"/>
            <a:headEnd type="none" w="sm" len="sm"/>
            <a:tailEnd type="oval" w="lg" len="lg"/>
          </a:ln>
        </p:spPr>
        <p:txBody>
          <a:bodyPr/>
          <a:lstStyle/>
          <a:p>
            <a:endParaRPr lang="en-US" sz="1200"/>
          </a:p>
        </p:txBody>
      </p:sp>
      <p:sp>
        <p:nvSpPr>
          <p:cNvPr id="34" name="Freeform 34"/>
          <p:cNvSpPr/>
          <p:nvPr/>
        </p:nvSpPr>
        <p:spPr>
          <a:xfrm>
            <a:off x="5665498" y="3632689"/>
            <a:ext cx="861003" cy="859927"/>
          </a:xfrm>
          <a:custGeom>
            <a:avLst/>
            <a:gdLst/>
            <a:ahLst/>
            <a:cxnLst/>
            <a:rect l="l" t="t" r="r" b="b"/>
            <a:pathLst>
              <a:path w="1291504" h="1289890">
                <a:moveTo>
                  <a:pt x="0" y="0"/>
                </a:moveTo>
                <a:lnTo>
                  <a:pt x="1291504" y="0"/>
                </a:lnTo>
                <a:lnTo>
                  <a:pt x="1291504" y="1289889"/>
                </a:lnTo>
                <a:lnTo>
                  <a:pt x="0" y="128988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35" name="TextBox 35"/>
          <p:cNvSpPr txBox="1"/>
          <p:nvPr/>
        </p:nvSpPr>
        <p:spPr>
          <a:xfrm>
            <a:off x="6610776" y="3919453"/>
            <a:ext cx="1834677" cy="1536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94945" lvl="1" indent="-97155">
              <a:lnSpc>
                <a:spcPts val="1265"/>
              </a:lnSpc>
              <a:buFont typeface="Arial"/>
              <a:buChar char="•"/>
            </a:pPr>
            <a:r>
              <a:rPr lang="en-US" sz="900">
                <a:solidFill>
                  <a:srgbClr val="FFFFFF"/>
                </a:solidFill>
                <a:latin typeface="Montserrat"/>
              </a:rPr>
              <a:t>Introducing premium tier</a:t>
            </a:r>
            <a:endParaRPr lang="en-US" sz="900"/>
          </a:p>
        </p:txBody>
      </p:sp>
      <p:sp>
        <p:nvSpPr>
          <p:cNvPr id="36" name="TextBox 36"/>
          <p:cNvSpPr txBox="1"/>
          <p:nvPr/>
        </p:nvSpPr>
        <p:spPr>
          <a:xfrm>
            <a:off x="5892334" y="3890394"/>
            <a:ext cx="407332" cy="3484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61"/>
              </a:lnSpc>
            </a:pPr>
            <a:r>
              <a:rPr lang="en-US" sz="2383">
                <a:solidFill>
                  <a:srgbClr val="609BA4"/>
                </a:solidFill>
                <a:latin typeface="Montserrat Heavy"/>
              </a:rPr>
              <a:t>10</a:t>
            </a:r>
          </a:p>
        </p:txBody>
      </p:sp>
      <p:sp>
        <p:nvSpPr>
          <p:cNvPr id="37" name="TextBox 37"/>
          <p:cNvSpPr txBox="1"/>
          <p:nvPr/>
        </p:nvSpPr>
        <p:spPr>
          <a:xfrm>
            <a:off x="3854506" y="3906753"/>
            <a:ext cx="906518" cy="2115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41"/>
              </a:lnSpc>
            </a:pPr>
            <a:r>
              <a:rPr lang="en-US" sz="1315">
                <a:solidFill>
                  <a:srgbClr val="FFFFFF"/>
                </a:solidFill>
                <a:latin typeface="Montserrat Bold"/>
              </a:rPr>
              <a:t>JULY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3854506" y="4086380"/>
            <a:ext cx="673111" cy="2148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41"/>
              </a:lnSpc>
            </a:pPr>
            <a:r>
              <a:rPr lang="en-US" sz="1315">
                <a:solidFill>
                  <a:srgbClr val="FFFFFF"/>
                </a:solidFill>
                <a:latin typeface="Montserrat"/>
              </a:rPr>
              <a:t>2024</a:t>
            </a:r>
          </a:p>
        </p:txBody>
      </p:sp>
      <p:sp>
        <p:nvSpPr>
          <p:cNvPr id="39" name="AutoShape 39"/>
          <p:cNvSpPr/>
          <p:nvPr/>
        </p:nvSpPr>
        <p:spPr>
          <a:xfrm>
            <a:off x="7121285" y="611141"/>
            <a:ext cx="788802" cy="0"/>
          </a:xfrm>
          <a:prstGeom prst="line">
            <a:avLst/>
          </a:prstGeom>
          <a:ln w="19050" cap="flat">
            <a:solidFill>
              <a:srgbClr val="364A5A"/>
            </a:solidFill>
            <a:prstDash val="sysDot"/>
            <a:headEnd type="none" w="sm" len="sm"/>
            <a:tailEnd type="oval" w="lg" len="lg"/>
          </a:ln>
        </p:spPr>
        <p:txBody>
          <a:bodyPr/>
          <a:lstStyle/>
          <a:p>
            <a:endParaRPr lang="en-US" sz="1200"/>
          </a:p>
        </p:txBody>
      </p:sp>
      <p:sp>
        <p:nvSpPr>
          <p:cNvPr id="40" name="TextBox 40"/>
          <p:cNvSpPr txBox="1"/>
          <p:nvPr/>
        </p:nvSpPr>
        <p:spPr>
          <a:xfrm>
            <a:off x="8046174" y="406729"/>
            <a:ext cx="673111" cy="2115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41"/>
              </a:lnSpc>
            </a:pPr>
            <a:r>
              <a:rPr lang="en-US" sz="1315">
                <a:solidFill>
                  <a:srgbClr val="FFFFFF"/>
                </a:solidFill>
                <a:latin typeface="Montserrat Bold"/>
              </a:rPr>
              <a:t>APRIL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8046174" y="600388"/>
            <a:ext cx="673111" cy="2148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41"/>
              </a:lnSpc>
            </a:pPr>
            <a:r>
              <a:rPr lang="en-US" sz="1315">
                <a:solidFill>
                  <a:srgbClr val="FFFFFF"/>
                </a:solidFill>
                <a:latin typeface="Montserrat"/>
              </a:rPr>
              <a:t>2024</a:t>
            </a:r>
          </a:p>
        </p:txBody>
      </p:sp>
      <p:sp>
        <p:nvSpPr>
          <p:cNvPr id="42" name="AutoShape 42"/>
          <p:cNvSpPr/>
          <p:nvPr/>
        </p:nvSpPr>
        <p:spPr>
          <a:xfrm>
            <a:off x="7121285" y="2874450"/>
            <a:ext cx="406829" cy="0"/>
          </a:xfrm>
          <a:prstGeom prst="line">
            <a:avLst/>
          </a:prstGeom>
          <a:ln w="19050" cap="flat">
            <a:solidFill>
              <a:srgbClr val="364A5A"/>
            </a:solidFill>
            <a:prstDash val="sysDot"/>
            <a:headEnd type="none" w="sm" len="sm"/>
            <a:tailEnd type="oval" w="lg" len="lg"/>
          </a:ln>
        </p:spPr>
        <p:txBody>
          <a:bodyPr/>
          <a:lstStyle/>
          <a:p>
            <a:endParaRPr lang="en-US" sz="1200"/>
          </a:p>
        </p:txBody>
      </p:sp>
      <p:sp>
        <p:nvSpPr>
          <p:cNvPr id="43" name="TextBox 43"/>
          <p:cNvSpPr txBox="1"/>
          <p:nvPr/>
        </p:nvSpPr>
        <p:spPr>
          <a:xfrm>
            <a:off x="7630402" y="2744391"/>
            <a:ext cx="1408939" cy="2115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41"/>
              </a:lnSpc>
            </a:pPr>
            <a:r>
              <a:rPr lang="en-US" sz="1315">
                <a:solidFill>
                  <a:srgbClr val="FFFFFF"/>
                </a:solidFill>
                <a:latin typeface="Montserrat Bold"/>
              </a:rPr>
              <a:t>JUNE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7630402" y="2945880"/>
            <a:ext cx="673111" cy="2148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41"/>
              </a:lnSpc>
            </a:pPr>
            <a:r>
              <a:rPr lang="en-US" sz="1315">
                <a:solidFill>
                  <a:srgbClr val="FFFFFF"/>
                </a:solidFill>
                <a:latin typeface="Montserrat"/>
              </a:rPr>
              <a:t>2024</a:t>
            </a:r>
          </a:p>
        </p:txBody>
      </p:sp>
      <p:grpSp>
        <p:nvGrpSpPr>
          <p:cNvPr id="45" name="Group 45"/>
          <p:cNvGrpSpPr/>
          <p:nvPr/>
        </p:nvGrpSpPr>
        <p:grpSpPr>
          <a:xfrm>
            <a:off x="3861092" y="4710388"/>
            <a:ext cx="3130848" cy="966614"/>
            <a:chOff x="0" y="0"/>
            <a:chExt cx="1316323" cy="406400"/>
          </a:xfrm>
        </p:grpSpPr>
        <p:sp>
          <p:nvSpPr>
            <p:cNvPr id="46" name="Freeform 46"/>
            <p:cNvSpPr/>
            <p:nvPr/>
          </p:nvSpPr>
          <p:spPr>
            <a:xfrm>
              <a:off x="0" y="0"/>
              <a:ext cx="1316323" cy="406400"/>
            </a:xfrm>
            <a:custGeom>
              <a:avLst/>
              <a:gdLst/>
              <a:ahLst/>
              <a:cxnLst/>
              <a:rect l="l" t="t" r="r" b="b"/>
              <a:pathLst>
                <a:path w="1316323" h="406400">
                  <a:moveTo>
                    <a:pt x="1113123" y="0"/>
                  </a:moveTo>
                  <a:cubicBezTo>
                    <a:pt x="1225348" y="0"/>
                    <a:pt x="1316323" y="90976"/>
                    <a:pt x="1316323" y="203200"/>
                  </a:cubicBezTo>
                  <a:cubicBezTo>
                    <a:pt x="1316323" y="315424"/>
                    <a:pt x="1225348" y="406400"/>
                    <a:pt x="1113123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74846D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47" name="TextBox 47"/>
            <p:cNvSpPr txBox="1"/>
            <p:nvPr/>
          </p:nvSpPr>
          <p:spPr>
            <a:xfrm>
              <a:off x="0" y="-19050"/>
              <a:ext cx="812800" cy="425450"/>
            </a:xfrm>
            <a:prstGeom prst="rect">
              <a:avLst/>
            </a:prstGeom>
          </p:spPr>
          <p:txBody>
            <a:bodyPr lIns="19132" tIns="19132" rIns="19132" bIns="19132" rtlCol="0" anchor="ctr"/>
            <a:lstStyle/>
            <a:p>
              <a:pPr algn="ctr">
                <a:lnSpc>
                  <a:spcPts val="738"/>
                </a:lnSpc>
                <a:spcBef>
                  <a:spcPct val="0"/>
                </a:spcBef>
              </a:pPr>
              <a:endParaRPr sz="1200"/>
            </a:p>
          </p:txBody>
        </p:sp>
      </p:grpSp>
      <p:sp>
        <p:nvSpPr>
          <p:cNvPr id="48" name="TextBox 48"/>
          <p:cNvSpPr txBox="1"/>
          <p:nvPr/>
        </p:nvSpPr>
        <p:spPr>
          <a:xfrm>
            <a:off x="4228684" y="5058325"/>
            <a:ext cx="1834677" cy="1536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95238" lvl="1" indent="-97619">
              <a:lnSpc>
                <a:spcPts val="1265"/>
              </a:lnSpc>
              <a:buFont typeface="Arial"/>
              <a:buChar char="•"/>
            </a:pPr>
            <a:r>
              <a:rPr lang="en-US" sz="904">
                <a:solidFill>
                  <a:srgbClr val="FFFFFF"/>
                </a:solidFill>
                <a:latin typeface="Montserrat"/>
              </a:rPr>
              <a:t>Food Mystery box </a:t>
            </a:r>
          </a:p>
        </p:txBody>
      </p:sp>
      <p:sp>
        <p:nvSpPr>
          <p:cNvPr id="49" name="Freeform 49"/>
          <p:cNvSpPr/>
          <p:nvPr/>
        </p:nvSpPr>
        <p:spPr>
          <a:xfrm>
            <a:off x="6052228" y="4765197"/>
            <a:ext cx="861003" cy="859927"/>
          </a:xfrm>
          <a:custGeom>
            <a:avLst/>
            <a:gdLst/>
            <a:ahLst/>
            <a:cxnLst/>
            <a:rect l="l" t="t" r="r" b="b"/>
            <a:pathLst>
              <a:path w="1291504" h="1289890">
                <a:moveTo>
                  <a:pt x="0" y="0"/>
                </a:moveTo>
                <a:lnTo>
                  <a:pt x="1291503" y="0"/>
                </a:lnTo>
                <a:lnTo>
                  <a:pt x="1291503" y="1289890"/>
                </a:lnTo>
                <a:lnTo>
                  <a:pt x="0" y="128989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50" name="TextBox 50"/>
          <p:cNvSpPr txBox="1"/>
          <p:nvPr/>
        </p:nvSpPr>
        <p:spPr>
          <a:xfrm>
            <a:off x="6267929" y="4970469"/>
            <a:ext cx="498251" cy="43332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579"/>
              </a:lnSpc>
            </a:pPr>
            <a:r>
              <a:rPr lang="en-US" sz="2982" dirty="0">
                <a:solidFill>
                  <a:srgbClr val="74846D"/>
                </a:solidFill>
                <a:latin typeface="Montserrat Heavy"/>
              </a:rPr>
              <a:t>11</a:t>
            </a:r>
          </a:p>
        </p:txBody>
      </p:sp>
      <p:sp>
        <p:nvSpPr>
          <p:cNvPr id="51" name="AutoShape 51"/>
          <p:cNvSpPr/>
          <p:nvPr/>
        </p:nvSpPr>
        <p:spPr>
          <a:xfrm>
            <a:off x="7107569" y="5218322"/>
            <a:ext cx="406829" cy="0"/>
          </a:xfrm>
          <a:prstGeom prst="line">
            <a:avLst/>
          </a:prstGeom>
          <a:ln w="19050" cap="flat">
            <a:solidFill>
              <a:srgbClr val="364A5A"/>
            </a:solidFill>
            <a:prstDash val="sysDot"/>
            <a:headEnd type="none" w="sm" len="sm"/>
            <a:tailEnd type="oval" w="lg" len="lg"/>
          </a:ln>
        </p:spPr>
        <p:txBody>
          <a:bodyPr/>
          <a:lstStyle/>
          <a:p>
            <a:endParaRPr lang="en-US" sz="1200"/>
          </a:p>
        </p:txBody>
      </p:sp>
      <p:sp>
        <p:nvSpPr>
          <p:cNvPr id="52" name="TextBox 52"/>
          <p:cNvSpPr txBox="1"/>
          <p:nvPr/>
        </p:nvSpPr>
        <p:spPr>
          <a:xfrm>
            <a:off x="7616685" y="5088263"/>
            <a:ext cx="1151606" cy="2115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41"/>
              </a:lnSpc>
            </a:pPr>
            <a:r>
              <a:rPr lang="en-US" sz="1315">
                <a:solidFill>
                  <a:srgbClr val="FFFFFF"/>
                </a:solidFill>
                <a:latin typeface="Montserrat Bold"/>
              </a:rPr>
              <a:t>AUGUST</a:t>
            </a:r>
          </a:p>
        </p:txBody>
      </p:sp>
      <p:sp>
        <p:nvSpPr>
          <p:cNvPr id="53" name="TextBox 53"/>
          <p:cNvSpPr txBox="1"/>
          <p:nvPr/>
        </p:nvSpPr>
        <p:spPr>
          <a:xfrm>
            <a:off x="7616685" y="5289752"/>
            <a:ext cx="673111" cy="2148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41"/>
              </a:lnSpc>
            </a:pPr>
            <a:r>
              <a:rPr lang="en-US" sz="1315">
                <a:solidFill>
                  <a:srgbClr val="FFFFFF"/>
                </a:solidFill>
                <a:latin typeface="Montserrat"/>
              </a:rPr>
              <a:t>2024</a:t>
            </a:r>
          </a:p>
        </p:txBody>
      </p:sp>
      <p:sp>
        <p:nvSpPr>
          <p:cNvPr id="54" name="AutoShape 54"/>
          <p:cNvSpPr/>
          <p:nvPr/>
        </p:nvSpPr>
        <p:spPr>
          <a:xfrm flipH="1">
            <a:off x="5108496" y="6383362"/>
            <a:ext cx="422311" cy="0"/>
          </a:xfrm>
          <a:prstGeom prst="line">
            <a:avLst/>
          </a:prstGeom>
          <a:ln w="19050" cap="flat">
            <a:solidFill>
              <a:srgbClr val="364A5A"/>
            </a:solidFill>
            <a:prstDash val="sysDot"/>
            <a:headEnd type="none" w="sm" len="sm"/>
            <a:tailEnd type="oval" w="lg" len="lg"/>
          </a:ln>
        </p:spPr>
        <p:txBody>
          <a:bodyPr/>
          <a:lstStyle/>
          <a:p>
            <a:endParaRPr lang="en-US" sz="1200"/>
          </a:p>
        </p:txBody>
      </p:sp>
      <p:sp>
        <p:nvSpPr>
          <p:cNvPr id="55" name="TextBox 55"/>
          <p:cNvSpPr txBox="1"/>
          <p:nvPr/>
        </p:nvSpPr>
        <p:spPr>
          <a:xfrm>
            <a:off x="3949117" y="6235802"/>
            <a:ext cx="1231738" cy="44217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33"/>
              </a:lnSpc>
            </a:pPr>
            <a:r>
              <a:rPr lang="en-US" sz="1309">
                <a:solidFill>
                  <a:srgbClr val="FFFFFF"/>
                </a:solidFill>
                <a:latin typeface="Montserrat Bold"/>
              </a:rPr>
              <a:t>BEYOND SEPTEMBER</a:t>
            </a:r>
          </a:p>
        </p:txBody>
      </p:sp>
      <p:grpSp>
        <p:nvGrpSpPr>
          <p:cNvPr id="56" name="Group 56"/>
          <p:cNvGrpSpPr/>
          <p:nvPr/>
        </p:nvGrpSpPr>
        <p:grpSpPr>
          <a:xfrm>
            <a:off x="5748079" y="5848452"/>
            <a:ext cx="3117873" cy="962609"/>
            <a:chOff x="0" y="0"/>
            <a:chExt cx="1316323" cy="406400"/>
          </a:xfrm>
        </p:grpSpPr>
        <p:sp>
          <p:nvSpPr>
            <p:cNvPr id="57" name="Freeform 57"/>
            <p:cNvSpPr/>
            <p:nvPr/>
          </p:nvSpPr>
          <p:spPr>
            <a:xfrm>
              <a:off x="0" y="0"/>
              <a:ext cx="1316323" cy="406400"/>
            </a:xfrm>
            <a:custGeom>
              <a:avLst/>
              <a:gdLst/>
              <a:ahLst/>
              <a:cxnLst/>
              <a:rect l="l" t="t" r="r" b="b"/>
              <a:pathLst>
                <a:path w="1316323" h="406400">
                  <a:moveTo>
                    <a:pt x="1113123" y="0"/>
                  </a:moveTo>
                  <a:cubicBezTo>
                    <a:pt x="1225348" y="0"/>
                    <a:pt x="1316323" y="90976"/>
                    <a:pt x="1316323" y="203200"/>
                  </a:cubicBezTo>
                  <a:cubicBezTo>
                    <a:pt x="1316323" y="315424"/>
                    <a:pt x="1225348" y="406400"/>
                    <a:pt x="1113123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6D945C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58" name="TextBox 58"/>
            <p:cNvSpPr txBox="1"/>
            <p:nvPr/>
          </p:nvSpPr>
          <p:spPr>
            <a:xfrm>
              <a:off x="0" y="-19050"/>
              <a:ext cx="812800" cy="425450"/>
            </a:xfrm>
            <a:prstGeom prst="rect">
              <a:avLst/>
            </a:prstGeom>
          </p:spPr>
          <p:txBody>
            <a:bodyPr lIns="19132" tIns="19132" rIns="19132" bIns="19132" rtlCol="0" anchor="ctr"/>
            <a:lstStyle/>
            <a:p>
              <a:pPr algn="ctr">
                <a:lnSpc>
                  <a:spcPts val="738"/>
                </a:lnSpc>
                <a:spcBef>
                  <a:spcPct val="0"/>
                </a:spcBef>
              </a:pPr>
              <a:endParaRPr sz="1200"/>
            </a:p>
          </p:txBody>
        </p:sp>
      </p:grpSp>
      <p:sp>
        <p:nvSpPr>
          <p:cNvPr id="59" name="Freeform 59"/>
          <p:cNvSpPr/>
          <p:nvPr/>
        </p:nvSpPr>
        <p:spPr>
          <a:xfrm>
            <a:off x="5824821" y="5909372"/>
            <a:ext cx="857435" cy="856363"/>
          </a:xfrm>
          <a:custGeom>
            <a:avLst/>
            <a:gdLst/>
            <a:ahLst/>
            <a:cxnLst/>
            <a:rect l="l" t="t" r="r" b="b"/>
            <a:pathLst>
              <a:path w="1286152" h="1284544">
                <a:moveTo>
                  <a:pt x="0" y="0"/>
                </a:moveTo>
                <a:lnTo>
                  <a:pt x="1286152" y="0"/>
                </a:lnTo>
                <a:lnTo>
                  <a:pt x="1286152" y="1284544"/>
                </a:lnTo>
                <a:lnTo>
                  <a:pt x="0" y="128454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60" name="TextBox 60"/>
          <p:cNvSpPr txBox="1"/>
          <p:nvPr/>
        </p:nvSpPr>
        <p:spPr>
          <a:xfrm>
            <a:off x="6766181" y="6194895"/>
            <a:ext cx="1827074" cy="1535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94428" lvl="1" indent="-97214">
              <a:lnSpc>
                <a:spcPts val="1261"/>
              </a:lnSpc>
              <a:buFont typeface="Arial"/>
              <a:buChar char="•"/>
            </a:pPr>
            <a:r>
              <a:rPr lang="en-US" sz="900">
                <a:solidFill>
                  <a:srgbClr val="FFFFFF"/>
                </a:solidFill>
                <a:latin typeface="Montserrat"/>
              </a:rPr>
              <a:t>Availability in other cities </a:t>
            </a:r>
          </a:p>
        </p:txBody>
      </p:sp>
      <p:sp>
        <p:nvSpPr>
          <p:cNvPr id="61" name="TextBox 61"/>
          <p:cNvSpPr txBox="1"/>
          <p:nvPr/>
        </p:nvSpPr>
        <p:spPr>
          <a:xfrm>
            <a:off x="6050716" y="6166009"/>
            <a:ext cx="405644" cy="3590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49"/>
              </a:lnSpc>
            </a:pPr>
            <a:r>
              <a:rPr lang="en-US" sz="2374">
                <a:solidFill>
                  <a:srgbClr val="6D945C"/>
                </a:solidFill>
                <a:latin typeface="Montserrat Heavy"/>
              </a:rPr>
              <a:t>12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311EAA7-5287-B3A0-1DFD-3EAEE9A7B4DD}"/>
              </a:ext>
            </a:extLst>
          </p:cNvPr>
          <p:cNvSpPr txBox="1"/>
          <p:nvPr/>
        </p:nvSpPr>
        <p:spPr>
          <a:xfrm>
            <a:off x="950976" y="452052"/>
            <a:ext cx="358240" cy="5732084"/>
          </a:xfrm>
          <a:prstGeom prst="rect">
            <a:avLst/>
          </a:prstGeom>
          <a:noFill/>
        </p:spPr>
        <p:txBody>
          <a:bodyPr vert="wordArtVert" wrap="square" lIns="0" tIns="0" rIns="0" bIns="0" numCol="1" rtlCol="0" anchor="ctr">
            <a:spAutoFit/>
          </a:bodyPr>
          <a:lstStyle/>
          <a:p>
            <a:pPr algn="l"/>
            <a:r>
              <a:rPr lang="en-US" b="1" kern="0" dirty="0"/>
              <a:t>PRODUCT TIMELINE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16" name="Group 615">
            <a:extLst>
              <a:ext uri="{FF2B5EF4-FFF2-40B4-BE49-F238E27FC236}">
                <a16:creationId xmlns:a16="http://schemas.microsoft.com/office/drawing/2014/main" id="{4A1436DA-C95E-C071-EE8F-1D72CF9E76E9}"/>
              </a:ext>
            </a:extLst>
          </p:cNvPr>
          <p:cNvGrpSpPr/>
          <p:nvPr/>
        </p:nvGrpSpPr>
        <p:grpSpPr>
          <a:xfrm>
            <a:off x="1624584" y="136660"/>
            <a:ext cx="10648696" cy="6584680"/>
            <a:chOff x="984504" y="93553"/>
            <a:chExt cx="10648696" cy="6584680"/>
          </a:xfrm>
        </p:grpSpPr>
        <p:pic>
          <p:nvPicPr>
            <p:cNvPr id="613" name="Picture 612">
              <a:extLst>
                <a:ext uri="{FF2B5EF4-FFF2-40B4-BE49-F238E27FC236}">
                  <a16:creationId xmlns:a16="http://schemas.microsoft.com/office/drawing/2014/main" id="{2F7A5FBD-FB6F-503F-6954-535321D116C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84504" y="93553"/>
              <a:ext cx="10648696" cy="6584680"/>
            </a:xfrm>
            <a:prstGeom prst="rect">
              <a:avLst/>
            </a:prstGeom>
          </p:spPr>
        </p:pic>
        <p:sp>
          <p:nvSpPr>
            <p:cNvPr id="438" name="TextBox 437">
              <a:extLst>
                <a:ext uri="{FF2B5EF4-FFF2-40B4-BE49-F238E27FC236}">
                  <a16:creationId xmlns:a16="http://schemas.microsoft.com/office/drawing/2014/main" id="{DEB2716A-0BAC-DE22-9F77-5D7B95119A3D}"/>
                </a:ext>
              </a:extLst>
            </p:cNvPr>
            <p:cNvSpPr txBox="1"/>
            <p:nvPr/>
          </p:nvSpPr>
          <p:spPr>
            <a:xfrm>
              <a:off x="1285513" y="757537"/>
              <a:ext cx="1306286" cy="215444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/>
            <a:p>
              <a:pPr algn="ctr"/>
              <a:r>
                <a:rPr lang="en-US" sz="1400" kern="0" dirty="0"/>
                <a:t>Phase 1</a:t>
              </a:r>
            </a:p>
          </p:txBody>
        </p:sp>
        <p:sp>
          <p:nvSpPr>
            <p:cNvPr id="439" name="TextBox 438">
              <a:extLst>
                <a:ext uri="{FF2B5EF4-FFF2-40B4-BE49-F238E27FC236}">
                  <a16:creationId xmlns:a16="http://schemas.microsoft.com/office/drawing/2014/main" id="{6D79B315-ECFE-1158-148C-73BAC03F244B}"/>
                </a:ext>
              </a:extLst>
            </p:cNvPr>
            <p:cNvSpPr txBox="1"/>
            <p:nvPr/>
          </p:nvSpPr>
          <p:spPr>
            <a:xfrm>
              <a:off x="3390554" y="757537"/>
              <a:ext cx="1306286" cy="215444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/>
            <a:p>
              <a:pPr algn="ctr"/>
              <a:r>
                <a:rPr lang="en-US" sz="1400" kern="0" dirty="0"/>
                <a:t>Phase 2</a:t>
              </a:r>
            </a:p>
          </p:txBody>
        </p:sp>
        <p:sp>
          <p:nvSpPr>
            <p:cNvPr id="440" name="TextBox 439">
              <a:extLst>
                <a:ext uri="{FF2B5EF4-FFF2-40B4-BE49-F238E27FC236}">
                  <a16:creationId xmlns:a16="http://schemas.microsoft.com/office/drawing/2014/main" id="{E5579FCF-10C2-0967-AE8E-5029750EF36C}"/>
                </a:ext>
              </a:extLst>
            </p:cNvPr>
            <p:cNvSpPr txBox="1"/>
            <p:nvPr/>
          </p:nvSpPr>
          <p:spPr>
            <a:xfrm>
              <a:off x="5468003" y="757537"/>
              <a:ext cx="1306286" cy="215444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/>
            <a:p>
              <a:pPr algn="ctr"/>
              <a:r>
                <a:rPr lang="en-US" sz="1400" kern="0" dirty="0"/>
                <a:t>Phase 3</a:t>
              </a:r>
            </a:p>
          </p:txBody>
        </p:sp>
        <p:sp>
          <p:nvSpPr>
            <p:cNvPr id="441" name="TextBox 440">
              <a:extLst>
                <a:ext uri="{FF2B5EF4-FFF2-40B4-BE49-F238E27FC236}">
                  <a16:creationId xmlns:a16="http://schemas.microsoft.com/office/drawing/2014/main" id="{E2AAD1EE-A2BC-B0B4-5881-32BA49151AD2}"/>
                </a:ext>
              </a:extLst>
            </p:cNvPr>
            <p:cNvSpPr txBox="1"/>
            <p:nvPr/>
          </p:nvSpPr>
          <p:spPr>
            <a:xfrm>
              <a:off x="7545452" y="757537"/>
              <a:ext cx="1306286" cy="215444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/>
            <a:p>
              <a:pPr algn="ctr"/>
              <a:r>
                <a:rPr lang="en-US" sz="1400" kern="0" dirty="0"/>
                <a:t>Phase 4</a:t>
              </a:r>
            </a:p>
          </p:txBody>
        </p:sp>
        <p:sp>
          <p:nvSpPr>
            <p:cNvPr id="442" name="TextBox 441">
              <a:extLst>
                <a:ext uri="{FF2B5EF4-FFF2-40B4-BE49-F238E27FC236}">
                  <a16:creationId xmlns:a16="http://schemas.microsoft.com/office/drawing/2014/main" id="{FABF4114-CF45-C02C-AA40-64A2466AAAF8}"/>
                </a:ext>
              </a:extLst>
            </p:cNvPr>
            <p:cNvSpPr txBox="1"/>
            <p:nvPr/>
          </p:nvSpPr>
          <p:spPr>
            <a:xfrm>
              <a:off x="9648047" y="757537"/>
              <a:ext cx="1306286" cy="215444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/>
            <a:p>
              <a:pPr algn="ctr"/>
              <a:r>
                <a:rPr lang="en-US" sz="1400" kern="0" dirty="0"/>
                <a:t>Phase 5</a:t>
              </a:r>
            </a:p>
          </p:txBody>
        </p:sp>
        <p:sp>
          <p:nvSpPr>
            <p:cNvPr id="443" name="TextBox 442">
              <a:extLst>
                <a:ext uri="{FF2B5EF4-FFF2-40B4-BE49-F238E27FC236}">
                  <a16:creationId xmlns:a16="http://schemas.microsoft.com/office/drawing/2014/main" id="{DCF5EE60-1F34-260B-2F7B-BAF407E165DC}"/>
                </a:ext>
              </a:extLst>
            </p:cNvPr>
            <p:cNvSpPr txBox="1"/>
            <p:nvPr/>
          </p:nvSpPr>
          <p:spPr>
            <a:xfrm>
              <a:off x="1285513" y="204086"/>
              <a:ext cx="1306286" cy="307777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/>
            <a:p>
              <a:pPr algn="ctr"/>
              <a:r>
                <a:rPr lang="en-US" sz="1000" kern="0" dirty="0"/>
                <a:t>Discovery and Awareness</a:t>
              </a:r>
            </a:p>
          </p:txBody>
        </p:sp>
        <p:sp>
          <p:nvSpPr>
            <p:cNvPr id="444" name="TextBox 443">
              <a:extLst>
                <a:ext uri="{FF2B5EF4-FFF2-40B4-BE49-F238E27FC236}">
                  <a16:creationId xmlns:a16="http://schemas.microsoft.com/office/drawing/2014/main" id="{B92A49EA-159E-2925-CD43-28F195B3709E}"/>
                </a:ext>
              </a:extLst>
            </p:cNvPr>
            <p:cNvSpPr txBox="1"/>
            <p:nvPr/>
          </p:nvSpPr>
          <p:spPr>
            <a:xfrm>
              <a:off x="3376146" y="253255"/>
              <a:ext cx="1306286" cy="215444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/>
            <a:p>
              <a:pPr algn="ctr"/>
              <a:r>
                <a:rPr lang="en-US" sz="1400" kern="0" dirty="0"/>
                <a:t>Consideration</a:t>
              </a:r>
            </a:p>
          </p:txBody>
        </p:sp>
        <p:sp>
          <p:nvSpPr>
            <p:cNvPr id="445" name="TextBox 444">
              <a:extLst>
                <a:ext uri="{FF2B5EF4-FFF2-40B4-BE49-F238E27FC236}">
                  <a16:creationId xmlns:a16="http://schemas.microsoft.com/office/drawing/2014/main" id="{93210FBA-A258-F276-22D5-5965A7BB1FF9}"/>
                </a:ext>
              </a:extLst>
            </p:cNvPr>
            <p:cNvSpPr txBox="1"/>
            <p:nvPr/>
          </p:nvSpPr>
          <p:spPr>
            <a:xfrm>
              <a:off x="5466780" y="281030"/>
              <a:ext cx="1306286" cy="153888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/>
            <a:p>
              <a:pPr algn="ctr"/>
              <a:r>
                <a:rPr lang="en-US" sz="1000" kern="0" dirty="0"/>
                <a:t>Evaluate and Decision</a:t>
              </a:r>
            </a:p>
          </p:txBody>
        </p:sp>
        <p:sp>
          <p:nvSpPr>
            <p:cNvPr id="446" name="TextBox 445">
              <a:extLst>
                <a:ext uri="{FF2B5EF4-FFF2-40B4-BE49-F238E27FC236}">
                  <a16:creationId xmlns:a16="http://schemas.microsoft.com/office/drawing/2014/main" id="{AE5DE8FD-2308-57CF-5A25-C2E1D390D115}"/>
                </a:ext>
              </a:extLst>
            </p:cNvPr>
            <p:cNvSpPr txBox="1"/>
            <p:nvPr/>
          </p:nvSpPr>
          <p:spPr>
            <a:xfrm>
              <a:off x="7557413" y="253255"/>
              <a:ext cx="1306286" cy="215444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/>
            <a:p>
              <a:pPr algn="ctr"/>
              <a:r>
                <a:rPr lang="en-US" sz="1400" kern="0" dirty="0"/>
                <a:t>Service</a:t>
              </a:r>
            </a:p>
          </p:txBody>
        </p:sp>
        <p:sp>
          <p:nvSpPr>
            <p:cNvPr id="447" name="TextBox 446">
              <a:extLst>
                <a:ext uri="{FF2B5EF4-FFF2-40B4-BE49-F238E27FC236}">
                  <a16:creationId xmlns:a16="http://schemas.microsoft.com/office/drawing/2014/main" id="{2E39BE55-1DD0-9FED-4897-E66E3DD8B28D}"/>
                </a:ext>
              </a:extLst>
            </p:cNvPr>
            <p:cNvSpPr txBox="1"/>
            <p:nvPr/>
          </p:nvSpPr>
          <p:spPr>
            <a:xfrm>
              <a:off x="9648047" y="219474"/>
              <a:ext cx="1306286" cy="215444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/>
            <a:p>
              <a:pPr algn="ctr"/>
              <a:r>
                <a:rPr lang="en-US" sz="1400" kern="0" dirty="0"/>
                <a:t>Loyalty</a:t>
              </a:r>
            </a:p>
          </p:txBody>
        </p:sp>
      </p:grpSp>
      <p:sp>
        <p:nvSpPr>
          <p:cNvPr id="617" name="TextBox 616">
            <a:extLst>
              <a:ext uri="{FF2B5EF4-FFF2-40B4-BE49-F238E27FC236}">
                <a16:creationId xmlns:a16="http://schemas.microsoft.com/office/drawing/2014/main" id="{DA8C9E2A-C37C-84C1-FE21-DC30E4AF4016}"/>
              </a:ext>
            </a:extLst>
          </p:cNvPr>
          <p:cNvSpPr txBox="1"/>
          <p:nvPr/>
        </p:nvSpPr>
        <p:spPr>
          <a:xfrm>
            <a:off x="950976" y="452052"/>
            <a:ext cx="358240" cy="5732084"/>
          </a:xfrm>
          <a:prstGeom prst="rect">
            <a:avLst/>
          </a:prstGeom>
          <a:noFill/>
        </p:spPr>
        <p:txBody>
          <a:bodyPr vert="wordArtVert" wrap="square" lIns="0" tIns="0" rIns="0" bIns="0" numCol="1" rtlCol="0" anchor="ctr">
            <a:spAutoFit/>
          </a:bodyPr>
          <a:lstStyle/>
          <a:p>
            <a:pPr marL="0" algn="l" rtl="0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F5F6FA"/>
                </a:solidFill>
                <a:effectLst/>
                <a:latin typeface="Segoe UI Semibold" panose="020B0702040204020203" pitchFamily="34" charset="0"/>
                <a:ea typeface="+mn-ea"/>
                <a:cs typeface="+mn-cs"/>
              </a:rPr>
              <a:t>CUSTOMER JOURNEY</a:t>
            </a:r>
            <a:endParaRPr lang="en-US" dirty="0">
              <a:effectLst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7046928"/>
      </p:ext>
    </p:extLst>
  </p:cSld>
  <p:clrMapOvr>
    <a:masterClrMapping/>
  </p:clrMapOvr>
  <p:transition spd="slow">
    <p:push dir="u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463DC58-D4E5-068E-88EA-356FFA76C8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463DC58-D4E5-068E-88EA-356FFA76C8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935BA389-C1EB-039A-A167-5C87C89561A1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pic>
        <p:nvPicPr>
          <p:cNvPr id="11" name="Picture 10" descr="A pink neon lights on a black background&#10;&#10;Description automatically generated">
            <a:extLst>
              <a:ext uri="{FF2B5EF4-FFF2-40B4-BE49-F238E27FC236}">
                <a16:creationId xmlns:a16="http://schemas.microsoft.com/office/drawing/2014/main" id="{D127FA9E-93B6-2141-728E-B2F61CD521C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6836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59" b="12459"/>
          <a:stretch/>
        </p:blipFill>
        <p:spPr>
          <a:xfrm>
            <a:off x="4562788" y="2223722"/>
            <a:ext cx="3066424" cy="3069771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36" b="16736"/>
          <a:stretch/>
        </p:blipFill>
        <p:spPr>
          <a:xfrm>
            <a:off x="2074235" y="2223721"/>
            <a:ext cx="2235201" cy="2231450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" b="84"/>
          <a:stretch/>
        </p:blipFill>
        <p:spPr>
          <a:xfrm>
            <a:off x="7882564" y="2223722"/>
            <a:ext cx="2235202" cy="2231450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6" b="12636"/>
          <a:stretch/>
        </p:blipFill>
        <p:spPr>
          <a:xfrm>
            <a:off x="0" y="2223722"/>
            <a:ext cx="1820883" cy="1814287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6" b="12636"/>
          <a:stretch/>
        </p:blipFill>
        <p:spPr>
          <a:xfrm>
            <a:off x="10371117" y="2223721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644136" y="1463188"/>
            <a:ext cx="925253" cy="369332"/>
          </a:xfrm>
          <a:prstGeom prst="rect">
            <a:avLst/>
          </a:prstGeom>
          <a:noFill/>
        </p:spPr>
        <p:txBody>
          <a:bodyPr wrap="none" numCol="1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aksh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718677" y="1586299"/>
            <a:ext cx="562975" cy="246221"/>
          </a:xfrm>
          <a:prstGeom prst="rect">
            <a:avLst/>
          </a:prstGeom>
          <a:noFill/>
        </p:spPr>
        <p:txBody>
          <a:bodyPr wrap="none" numCol="1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53B48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utuja</a:t>
            </a:r>
            <a:endParaRPr kumimoji="0" lang="en-US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353B48">
                  <a:lumMod val="60000"/>
                  <a:lumOff val="40000"/>
                </a:srgb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1037214" y="1575373"/>
            <a:ext cx="441147" cy="215444"/>
          </a:xfrm>
          <a:prstGeom prst="rect">
            <a:avLst/>
          </a:prstGeom>
          <a:noFill/>
        </p:spPr>
        <p:txBody>
          <a:bodyPr wrap="none" numCol="1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1A1D24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itic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635778" y="1584835"/>
            <a:ext cx="495649" cy="215444"/>
          </a:xfrm>
          <a:prstGeom prst="rect">
            <a:avLst/>
          </a:prstGeom>
          <a:noFill/>
        </p:spPr>
        <p:txBody>
          <a:bodyPr wrap="none" numCol="1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1A1D24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ishab</a:t>
            </a:r>
            <a:endParaRPr kumimoji="0" lang="de-DE" altLang="de-DE" sz="800" b="0" i="0" u="none" strike="noStrike" kern="1200" cap="none" spc="0" normalizeH="0" baseline="0" noProof="0" dirty="0">
              <a:ln>
                <a:noFill/>
              </a:ln>
              <a:solidFill>
                <a:srgbClr val="1A1D24">
                  <a:lumMod val="75000"/>
                  <a:lumOff val="25000"/>
                </a:srgb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841547" y="1575373"/>
            <a:ext cx="607859" cy="246221"/>
          </a:xfrm>
          <a:prstGeom prst="rect">
            <a:avLst/>
          </a:prstGeom>
          <a:noFill/>
        </p:spPr>
        <p:txBody>
          <a:bodyPr wrap="none" numCol="1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53B48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shwi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6" b="12636"/>
          <a:stretch/>
        </p:blipFill>
        <p:spPr>
          <a:xfrm>
            <a:off x="12525864" y="2223722"/>
            <a:ext cx="1820883" cy="1814287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6" b="12636"/>
          <a:stretch/>
        </p:blipFill>
        <p:spPr>
          <a:xfrm>
            <a:off x="-2339492" y="2223722"/>
            <a:ext cx="1820883" cy="1814287"/>
          </a:xfrm>
          <a:prstGeom prst="ellipse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45A944B-750A-43AE-A5D3-4CD4199BCA01}"/>
              </a:ext>
            </a:extLst>
          </p:cNvPr>
          <p:cNvSpPr txBox="1"/>
          <p:nvPr/>
        </p:nvSpPr>
        <p:spPr>
          <a:xfrm>
            <a:off x="-1649623" y="1564429"/>
            <a:ext cx="441147" cy="215444"/>
          </a:xfrm>
          <a:prstGeom prst="rect">
            <a:avLst/>
          </a:prstGeom>
          <a:noFill/>
        </p:spPr>
        <p:txBody>
          <a:bodyPr wrap="none" numCol="1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1A1D24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itic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34F97D6-390F-4425-ACBD-91B92D5EBDF8}"/>
              </a:ext>
            </a:extLst>
          </p:cNvPr>
          <p:cNvSpPr txBox="1"/>
          <p:nvPr/>
        </p:nvSpPr>
        <p:spPr>
          <a:xfrm>
            <a:off x="13188481" y="1564429"/>
            <a:ext cx="495649" cy="215444"/>
          </a:xfrm>
          <a:prstGeom prst="rect">
            <a:avLst/>
          </a:prstGeom>
          <a:noFill/>
        </p:spPr>
        <p:txBody>
          <a:bodyPr wrap="none" numCol="1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1A1D24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ishab</a:t>
            </a:r>
            <a:endParaRPr kumimoji="0" lang="de-DE" altLang="de-DE" sz="800" b="0" i="0" u="none" strike="noStrike" kern="1200" cap="none" spc="0" normalizeH="0" baseline="0" noProof="0" dirty="0">
              <a:ln>
                <a:noFill/>
              </a:ln>
              <a:solidFill>
                <a:srgbClr val="1A1D24">
                  <a:lumMod val="75000"/>
                  <a:lumOff val="25000"/>
                </a:srgb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13888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36" b="16736"/>
          <a:stretch/>
        </p:blipFill>
        <p:spPr>
          <a:xfrm>
            <a:off x="4583250" y="2223722"/>
            <a:ext cx="3074930" cy="3069770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6" b="12636"/>
          <a:stretch/>
        </p:blipFill>
        <p:spPr>
          <a:xfrm>
            <a:off x="2099511" y="2223722"/>
            <a:ext cx="2239563" cy="223145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6" b="12636"/>
          <a:stretch/>
        </p:blipFill>
        <p:spPr>
          <a:xfrm>
            <a:off x="34453" y="2223722"/>
            <a:ext cx="1820883" cy="1814287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59" b="12459"/>
          <a:stretch/>
        </p:blipFill>
        <p:spPr>
          <a:xfrm>
            <a:off x="7902356" y="2223723"/>
            <a:ext cx="2229017" cy="2231450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" b="84"/>
          <a:stretch/>
        </p:blipFill>
        <p:spPr>
          <a:xfrm>
            <a:off x="10375548" y="2223722"/>
            <a:ext cx="1820883" cy="1817826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6" b="12636"/>
          <a:stretch/>
        </p:blipFill>
        <p:spPr>
          <a:xfrm>
            <a:off x="12651465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579708" y="1441318"/>
            <a:ext cx="944489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shwin</a:t>
            </a:r>
            <a:endParaRPr kumimoji="0" lang="de-DE" altLang="de-DE" sz="1800" b="0" i="0" u="none" strike="noStrike" kern="1200" cap="none" spc="0" normalizeH="0" baseline="0" noProof="0" dirty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485667" y="1533652"/>
            <a:ext cx="596638" cy="246221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53B48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aksh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1043775" y="1543304"/>
            <a:ext cx="484428" cy="215444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1A1D24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utuja</a:t>
            </a:r>
            <a:endParaRPr kumimoji="0" lang="en-US" altLang="de-DE" sz="800" b="0" i="0" u="none" strike="noStrike" kern="1200" cap="none" spc="0" normalizeH="0" baseline="0" noProof="0" dirty="0">
              <a:ln>
                <a:noFill/>
              </a:ln>
              <a:solidFill>
                <a:srgbClr val="1A1D24">
                  <a:lumMod val="75000"/>
                  <a:lumOff val="25000"/>
                </a:srgb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643026" y="1564429"/>
            <a:ext cx="441147" cy="215444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1A1D24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itic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3045644" y="1566758"/>
            <a:ext cx="572593" cy="246221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53B48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ishab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" b="84"/>
          <a:stretch/>
        </p:blipFill>
        <p:spPr>
          <a:xfrm>
            <a:off x="-2073217" y="2223722"/>
            <a:ext cx="1820883" cy="1817826"/>
          </a:xfrm>
          <a:prstGeom prst="ellipse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8C60FF7-E22A-4382-B3B4-E1CE88AE15D7}"/>
              </a:ext>
            </a:extLst>
          </p:cNvPr>
          <p:cNvSpPr txBox="1"/>
          <p:nvPr/>
        </p:nvSpPr>
        <p:spPr>
          <a:xfrm>
            <a:off x="-1404988" y="1564429"/>
            <a:ext cx="484428" cy="215444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1A1D24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utuja</a:t>
            </a:r>
            <a:endParaRPr kumimoji="0" lang="en-US" altLang="de-DE" sz="800" b="0" i="0" u="none" strike="noStrike" kern="1200" cap="none" spc="0" normalizeH="0" baseline="0" noProof="0" dirty="0">
              <a:ln>
                <a:noFill/>
              </a:ln>
              <a:solidFill>
                <a:srgbClr val="1A1D24">
                  <a:lumMod val="75000"/>
                  <a:lumOff val="25000"/>
                </a:srgb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D216F81-8C1D-44D6-B3B4-365DE8E7C627}"/>
              </a:ext>
            </a:extLst>
          </p:cNvPr>
          <p:cNvSpPr txBox="1"/>
          <p:nvPr/>
        </p:nvSpPr>
        <p:spPr>
          <a:xfrm>
            <a:off x="13215732" y="1564429"/>
            <a:ext cx="441147" cy="215444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1A1D24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itic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249957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6" b="12636"/>
          <a:stretch/>
        </p:blipFill>
        <p:spPr>
          <a:xfrm>
            <a:off x="4556355" y="2223722"/>
            <a:ext cx="3080931" cy="306977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6" b="12636"/>
          <a:stretch/>
        </p:blipFill>
        <p:spPr>
          <a:xfrm>
            <a:off x="2137446" y="2223722"/>
            <a:ext cx="2239563" cy="2231450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" b="84"/>
          <a:stretch/>
        </p:blipFill>
        <p:spPr>
          <a:xfrm>
            <a:off x="137217" y="2223722"/>
            <a:ext cx="1820883" cy="1817826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36" b="16736"/>
          <a:stretch/>
        </p:blipFill>
        <p:spPr>
          <a:xfrm>
            <a:off x="7816632" y="2223722"/>
            <a:ext cx="2235201" cy="2231450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59" b="12459"/>
          <a:stretch/>
        </p:blipFill>
        <p:spPr>
          <a:xfrm>
            <a:off x="10231179" y="2223723"/>
            <a:ext cx="1820883" cy="1822871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" b="84"/>
          <a:stretch/>
        </p:blipFill>
        <p:spPr>
          <a:xfrm>
            <a:off x="12591530" y="2223722"/>
            <a:ext cx="1820883" cy="1817826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632659" y="1441318"/>
            <a:ext cx="883575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ishab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627625" y="1564429"/>
            <a:ext cx="607859" cy="246221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53B48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shwi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887698" y="1564429"/>
            <a:ext cx="513282" cy="215444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1A1D24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aksh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805449" y="1564429"/>
            <a:ext cx="484428" cy="215444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1A1D24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utuja</a:t>
            </a:r>
            <a:endParaRPr kumimoji="0" lang="en-US" altLang="de-DE" sz="800" b="0" i="0" u="none" strike="noStrike" kern="1200" cap="none" spc="0" normalizeH="0" baseline="0" noProof="0" dirty="0">
              <a:ln>
                <a:noFill/>
              </a:ln>
              <a:solidFill>
                <a:srgbClr val="1A1D24">
                  <a:lumMod val="75000"/>
                  <a:lumOff val="25000"/>
                </a:srgb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3007010" y="1564429"/>
            <a:ext cx="506870" cy="246221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53B48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itic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BDE69D-DFB6-48BB-8ACC-6287EE374207}"/>
              </a:ext>
            </a:extLst>
          </p:cNvPr>
          <p:cNvSpPr txBox="1"/>
          <p:nvPr/>
        </p:nvSpPr>
        <p:spPr>
          <a:xfrm>
            <a:off x="13255572" y="1564429"/>
            <a:ext cx="484428" cy="215444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1A1D24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utuja</a:t>
            </a:r>
            <a:endParaRPr kumimoji="0" lang="en-US" altLang="de-DE" sz="800" b="0" i="0" u="none" strike="noStrike" kern="1200" cap="none" spc="0" normalizeH="0" baseline="0" noProof="0" dirty="0">
              <a:ln>
                <a:noFill/>
              </a:ln>
              <a:solidFill>
                <a:srgbClr val="1A1D24">
                  <a:lumMod val="75000"/>
                  <a:lumOff val="25000"/>
                </a:srgb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C273CDE-6E61-BCBE-D175-3593ED43ABB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59" b="12459"/>
          <a:stretch/>
        </p:blipFill>
        <p:spPr>
          <a:xfrm>
            <a:off x="-2022644" y="2215138"/>
            <a:ext cx="1820883" cy="1822871"/>
          </a:xfrm>
          <a:prstGeom prst="ellipse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1B28B457-02FA-1EB6-17D1-02206009976F}"/>
              </a:ext>
            </a:extLst>
          </p:cNvPr>
          <p:cNvSpPr txBox="1"/>
          <p:nvPr/>
        </p:nvSpPr>
        <p:spPr>
          <a:xfrm>
            <a:off x="-1920764" y="1555844"/>
            <a:ext cx="1622559" cy="215444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1A1D24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aksha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096327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6" b="12636"/>
          <a:stretch/>
        </p:blipFill>
        <p:spPr>
          <a:xfrm>
            <a:off x="7816931" y="2223722"/>
            <a:ext cx="2239248" cy="2231136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6" b="12636"/>
          <a:stretch/>
        </p:blipFill>
        <p:spPr>
          <a:xfrm>
            <a:off x="4553248" y="2223722"/>
            <a:ext cx="3083554" cy="3072384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36" b="16736"/>
          <a:stretch/>
        </p:blipFill>
        <p:spPr>
          <a:xfrm>
            <a:off x="10236308" y="2226938"/>
            <a:ext cx="1822715" cy="1819656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59" b="12459"/>
          <a:stretch/>
        </p:blipFill>
        <p:spPr>
          <a:xfrm>
            <a:off x="12621715" y="2215138"/>
            <a:ext cx="1820883" cy="1822871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" b="84"/>
          <a:stretch/>
        </p:blipFill>
        <p:spPr>
          <a:xfrm>
            <a:off x="2138231" y="2215138"/>
            <a:ext cx="2234888" cy="2231136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713350" y="1441318"/>
            <a:ext cx="76335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itic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645258" y="1564429"/>
            <a:ext cx="572593" cy="246221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53B48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ishab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420422" y="1564429"/>
            <a:ext cx="1447832" cy="215444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1A1D24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shwi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791021" y="1564429"/>
            <a:ext cx="513282" cy="215444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1A1D24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aksh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978959" y="1564429"/>
            <a:ext cx="562976" cy="246221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53B48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utuja</a:t>
            </a:r>
            <a:endParaRPr kumimoji="0" lang="en-US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353B48">
                  <a:lumMod val="60000"/>
                  <a:lumOff val="40000"/>
                </a:srgb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BDE69D-DFB6-48BB-8ACC-6287EE374207}"/>
              </a:ext>
            </a:extLst>
          </p:cNvPr>
          <p:cNvSpPr txBox="1"/>
          <p:nvPr/>
        </p:nvSpPr>
        <p:spPr>
          <a:xfrm>
            <a:off x="13241144" y="1564429"/>
            <a:ext cx="513282" cy="215444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1A1D24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aksha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9D958FC-545F-18F1-5BBF-467DA6985E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59" b="12459"/>
          <a:stretch/>
        </p:blipFill>
        <p:spPr>
          <a:xfrm>
            <a:off x="137219" y="2223722"/>
            <a:ext cx="1820883" cy="1822871"/>
          </a:xfrm>
          <a:prstGeom prst="ellipse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1100A38-FFD0-62EE-ED83-FC0FDD14810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36" b="16736"/>
          <a:stretch/>
        </p:blipFill>
        <p:spPr>
          <a:xfrm>
            <a:off x="-2096365" y="2228766"/>
            <a:ext cx="1820883" cy="1817827"/>
          </a:xfrm>
          <a:prstGeom prst="ellipse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41E13FAD-5DF1-1B9D-7E46-EC3CC63C7D53}"/>
              </a:ext>
            </a:extLst>
          </p:cNvPr>
          <p:cNvSpPr txBox="1"/>
          <p:nvPr/>
        </p:nvSpPr>
        <p:spPr>
          <a:xfrm>
            <a:off x="-1446573" y="1569472"/>
            <a:ext cx="521298" cy="215444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1A1D24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shwi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43622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6" b="12636"/>
          <a:stretch/>
        </p:blipFill>
        <p:spPr>
          <a:xfrm>
            <a:off x="7813818" y="2215138"/>
            <a:ext cx="2239563" cy="2231450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59" b="12459"/>
          <a:stretch/>
        </p:blipFill>
        <p:spPr>
          <a:xfrm>
            <a:off x="2141256" y="2223722"/>
            <a:ext cx="2228703" cy="2231136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" b="84"/>
          <a:stretch/>
        </p:blipFill>
        <p:spPr>
          <a:xfrm>
            <a:off x="4553113" y="2221187"/>
            <a:ext cx="3077551" cy="3072384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660521" y="1441318"/>
            <a:ext cx="86273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utuja</a:t>
            </a:r>
            <a:endParaRPr kumimoji="0" lang="en-US" altLang="de-DE" sz="1800" b="0" i="0" u="none" strike="noStrike" kern="1200" cap="none" spc="0" normalizeH="0" baseline="0" noProof="0" dirty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678119" y="1564429"/>
            <a:ext cx="506870" cy="246221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53B48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itic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896514" y="1564429"/>
            <a:ext cx="495649" cy="215444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1A1D24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ishab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787013" y="1564429"/>
            <a:ext cx="521298" cy="215444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1A1D24">
                    <a:lumMod val="75000"/>
                    <a:lumOff val="25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shwi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962126" y="1564429"/>
            <a:ext cx="596638" cy="246221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53B48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Raksha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DBAE0-B30D-426D-98DC-B5C20F48891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36" b="16736"/>
          <a:stretch/>
        </p:blipFill>
        <p:spPr>
          <a:xfrm>
            <a:off x="134583" y="2215138"/>
            <a:ext cx="1820883" cy="1817827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6" b="12636"/>
          <a:stretch/>
        </p:blipFill>
        <p:spPr>
          <a:xfrm>
            <a:off x="10236534" y="2223722"/>
            <a:ext cx="1820883" cy="1814287"/>
          </a:xfrm>
          <a:prstGeom prst="ellipse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603608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43111" y="929683"/>
            <a:ext cx="8549189" cy="5704640"/>
          </a:xfrm>
          <a:custGeom>
            <a:avLst/>
            <a:gdLst/>
            <a:ahLst/>
            <a:cxnLst/>
            <a:rect l="l" t="t" r="r" b="b"/>
            <a:pathLst>
              <a:path w="12823783" h="8556960">
                <a:moveTo>
                  <a:pt x="0" y="0"/>
                </a:moveTo>
                <a:lnTo>
                  <a:pt x="12823783" y="0"/>
                </a:lnTo>
                <a:lnTo>
                  <a:pt x="12823783" y="8556960"/>
                </a:lnTo>
                <a:lnTo>
                  <a:pt x="0" y="855696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3" name="Freeform 3"/>
          <p:cNvSpPr/>
          <p:nvPr/>
        </p:nvSpPr>
        <p:spPr>
          <a:xfrm>
            <a:off x="7615618" y="245721"/>
            <a:ext cx="4197509" cy="6612279"/>
          </a:xfrm>
          <a:custGeom>
            <a:avLst/>
            <a:gdLst/>
            <a:ahLst/>
            <a:cxnLst/>
            <a:rect l="l" t="t" r="r" b="b"/>
            <a:pathLst>
              <a:path w="6296264" h="9918418">
                <a:moveTo>
                  <a:pt x="0" y="0"/>
                </a:moveTo>
                <a:lnTo>
                  <a:pt x="6296264" y="0"/>
                </a:lnTo>
                <a:lnTo>
                  <a:pt x="6296264" y="9918418"/>
                </a:lnTo>
                <a:lnTo>
                  <a:pt x="0" y="9918418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4" name="Group 4"/>
          <p:cNvGrpSpPr>
            <a:grpSpLocks noChangeAspect="1"/>
          </p:cNvGrpSpPr>
          <p:nvPr/>
        </p:nvGrpSpPr>
        <p:grpSpPr>
          <a:xfrm>
            <a:off x="7815983" y="2323997"/>
            <a:ext cx="3611763" cy="3611749"/>
            <a:chOff x="0" y="0"/>
            <a:chExt cx="6350025" cy="6350000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6350026" cy="6350000"/>
            </a:xfrm>
            <a:custGeom>
              <a:avLst/>
              <a:gdLst/>
              <a:ahLst/>
              <a:cxnLst/>
              <a:rect l="l" t="t" r="r" b="b"/>
              <a:pathLst>
                <a:path w="6350026" h="6350000">
                  <a:moveTo>
                    <a:pt x="0" y="0"/>
                  </a:moveTo>
                  <a:lnTo>
                    <a:pt x="6350026" y="0"/>
                  </a:lnTo>
                  <a:lnTo>
                    <a:pt x="6350026" y="6350000"/>
                  </a:lnTo>
                  <a:lnTo>
                    <a:pt x="0" y="6350000"/>
                  </a:lnTo>
                  <a:close/>
                </a:path>
              </a:pathLst>
            </a:custGeom>
            <a:blipFill>
              <a:blip r:embed="rId6"/>
              <a:stretch>
                <a:fillRect l="-8438" r="-8438"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</p:grpSp>
      <p:sp>
        <p:nvSpPr>
          <p:cNvPr id="6" name="TextBox 6"/>
          <p:cNvSpPr txBox="1"/>
          <p:nvPr/>
        </p:nvSpPr>
        <p:spPr>
          <a:xfrm>
            <a:off x="673100" y="1747151"/>
            <a:ext cx="5686987" cy="369780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925"/>
              </a:lnSpc>
            </a:pPr>
            <a:r>
              <a:rPr lang="en-US" sz="2000">
                <a:solidFill>
                  <a:srgbClr val="352F27"/>
                </a:solidFill>
                <a:latin typeface="Poppins"/>
              </a:rPr>
              <a:t> </a:t>
            </a:r>
            <a:r>
              <a:rPr lang="en-US" sz="2000" dirty="0">
                <a:solidFill>
                  <a:srgbClr val="352F27"/>
                </a:solidFill>
                <a:latin typeface="Poppins"/>
              </a:rPr>
              <a:t>I'm Rishab, a 24-year-old with a passion for aeromodelling. I'm currently pursuing a Master's in Business Analytics. But when I'm not immersed in numbers, you'll find me </a:t>
            </a:r>
            <a:r>
              <a:rPr lang="en-US" sz="2000" dirty="0" err="1">
                <a:solidFill>
                  <a:srgbClr val="352F27"/>
                </a:solidFill>
                <a:latin typeface="Poppins"/>
              </a:rPr>
              <a:t>geeking</a:t>
            </a:r>
            <a:r>
              <a:rPr lang="en-US" sz="2000" dirty="0">
                <a:solidFill>
                  <a:srgbClr val="352F27"/>
                </a:solidFill>
                <a:latin typeface="Poppins"/>
              </a:rPr>
              <a:t> out at events like Comic Cons.</a:t>
            </a:r>
            <a:r>
              <a:rPr lang="en-US" sz="2000">
                <a:solidFill>
                  <a:srgbClr val="352F27"/>
                </a:solidFill>
                <a:latin typeface="Poppins"/>
              </a:rPr>
              <a:t> </a:t>
            </a:r>
            <a:endParaRPr lang="en-US" sz="2000" dirty="0">
              <a:solidFill>
                <a:srgbClr val="352F27"/>
              </a:solidFill>
              <a:latin typeface="Poppins"/>
            </a:endParaRPr>
          </a:p>
          <a:p>
            <a:pPr>
              <a:lnSpc>
                <a:spcPts val="2925"/>
              </a:lnSpc>
            </a:pPr>
            <a:endParaRPr lang="en-US" sz="2000" dirty="0">
              <a:solidFill>
                <a:srgbClr val="352F27"/>
              </a:solidFill>
              <a:latin typeface="Poppins"/>
            </a:endParaRPr>
          </a:p>
          <a:p>
            <a:pPr>
              <a:lnSpc>
                <a:spcPts val="2925"/>
              </a:lnSpc>
            </a:pPr>
            <a:r>
              <a:rPr lang="en-US" sz="2000" dirty="0">
                <a:solidFill>
                  <a:srgbClr val="352F27"/>
                </a:solidFill>
                <a:latin typeface="Poppins"/>
              </a:rPr>
              <a:t>I've had the privilege of interning at DRDO (Defense Research and Development Organization), where I got a taste of cutting-edge tech. 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7815983" y="5891296"/>
            <a:ext cx="3611763" cy="37388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173"/>
              </a:lnSpc>
              <a:spcBef>
                <a:spcPct val="0"/>
              </a:spcBef>
            </a:pPr>
            <a:r>
              <a:rPr lang="en-US" sz="2266">
                <a:solidFill>
                  <a:srgbClr val="352F27"/>
                </a:solidFill>
                <a:latin typeface="Canva Sans"/>
              </a:rPr>
              <a:t> 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ZcveFcTuSouPSNhUDFiQ"/>
</p:tagLst>
</file>

<file path=ppt/theme/theme1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09A9FD79-4AD2-4296-A2DD-9F92A25C9D11}" vid="{BFDEAB75-776D-4FD4-B1CD-15298D2A28B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Level up! PowerPoint">
    <a:dk1>
      <a:srgbClr val="353B48"/>
    </a:dk1>
    <a:lt1>
      <a:srgbClr val="F5F6FA"/>
    </a:lt1>
    <a:dk2>
      <a:srgbClr val="1A1D24"/>
    </a:dk2>
    <a:lt2>
      <a:srgbClr val="FFFFFF"/>
    </a:lt2>
    <a:accent1>
      <a:srgbClr val="00A8FF"/>
    </a:accent1>
    <a:accent2>
      <a:srgbClr val="FBC531"/>
    </a:accent2>
    <a:accent3>
      <a:srgbClr val="4CD137"/>
    </a:accent3>
    <a:accent4>
      <a:srgbClr val="E84118"/>
    </a:accent4>
    <a:accent5>
      <a:srgbClr val="7F8FA1"/>
    </a:accent5>
    <a:accent6>
      <a:srgbClr val="273C75"/>
    </a:accent6>
    <a:hlink>
      <a:srgbClr val="5B5B5B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6C146718A44747B3E6B8C6BEF206CB" ma:contentTypeVersion="3" ma:contentTypeDescription="Create a new document." ma:contentTypeScope="" ma:versionID="8abcadb4a6a7216dcab6b7d3c1dde1ac">
  <xsd:schema xmlns:xsd="http://www.w3.org/2001/XMLSchema" xmlns:xs="http://www.w3.org/2001/XMLSchema" xmlns:p="http://schemas.microsoft.com/office/2006/metadata/properties" xmlns:ns2="2b6b679a-303a-4033-ba1f-c42228318895" targetNamespace="http://schemas.microsoft.com/office/2006/metadata/properties" ma:root="true" ma:fieldsID="bc900d66168c3e4a306006dc1fc9acf5" ns2:_="">
    <xsd:import namespace="2b6b679a-303a-4033-ba1f-c4222831889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6b679a-303a-4033-ba1f-c422283188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58BD59F-F7C7-4625-807E-FE25656645DE}"/>
</file>

<file path=customXml/itemProps2.xml><?xml version="1.0" encoding="utf-8"?>
<ds:datastoreItem xmlns:ds="http://schemas.openxmlformats.org/officeDocument/2006/customXml" ds:itemID="{10AABB01-6555-4236-8A99-F049F23C1BDE}"/>
</file>

<file path=docProps/app.xml><?xml version="1.0" encoding="utf-8"?>
<Properties xmlns="http://schemas.openxmlformats.org/officeDocument/2006/extended-properties" xmlns:vt="http://schemas.openxmlformats.org/officeDocument/2006/docPropsVTypes">
  <TotalTime>1511</TotalTime>
  <Words>1113</Words>
  <Application>Microsoft Office PowerPoint</Application>
  <PresentationFormat>Widescreen</PresentationFormat>
  <Paragraphs>221</Paragraphs>
  <Slides>35</Slides>
  <Notes>12</Notes>
  <HiddenSlides>5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6" baseType="lpstr">
      <vt:lpstr>Arial</vt:lpstr>
      <vt:lpstr>Calibri</vt:lpstr>
      <vt:lpstr>Canva Sans</vt:lpstr>
      <vt:lpstr>Montserrat</vt:lpstr>
      <vt:lpstr>Montserrat Bold</vt:lpstr>
      <vt:lpstr>Montserrat Heavy</vt:lpstr>
      <vt:lpstr>Poppins</vt:lpstr>
      <vt:lpstr>Segoe UI Black</vt:lpstr>
      <vt:lpstr>Segoe UI Semibold</vt:lpstr>
      <vt:lpstr>Level up! PowerPoint</vt:lpstr>
      <vt:lpstr>think-cell Slide</vt:lpstr>
      <vt:lpstr>PowerPoint Presentation</vt:lpstr>
      <vt:lpstr>PROJECT AT A GLANC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shab Raj</dc:creator>
  <cp:lastModifiedBy>Rishab Raj</cp:lastModifiedBy>
  <cp:revision>2</cp:revision>
  <dcterms:created xsi:type="dcterms:W3CDTF">2023-10-09T15:37:18Z</dcterms:created>
  <dcterms:modified xsi:type="dcterms:W3CDTF">2023-10-12T17:53:22Z</dcterms:modified>
</cp:coreProperties>
</file>